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463" r:id="rId2"/>
    <p:sldId id="453" r:id="rId3"/>
    <p:sldId id="473" r:id="rId4"/>
    <p:sldId id="479" r:id="rId5"/>
    <p:sldId id="480" r:id="rId6"/>
    <p:sldId id="481" r:id="rId7"/>
    <p:sldId id="466" r:id="rId8"/>
    <p:sldId id="474" r:id="rId9"/>
    <p:sldId id="469" r:id="rId10"/>
    <p:sldId id="454" r:id="rId11"/>
    <p:sldId id="476" r:id="rId12"/>
    <p:sldId id="478" r:id="rId13"/>
    <p:sldId id="475" r:id="rId14"/>
    <p:sldId id="470" r:id="rId15"/>
    <p:sldId id="450" r:id="rId16"/>
    <p:sldId id="482" r:id="rId17"/>
    <p:sldId id="483" r:id="rId18"/>
    <p:sldId id="484" r:id="rId19"/>
  </p:sldIdLst>
  <p:sldSz cx="12192000" cy="6858000"/>
  <p:notesSz cx="7010400" cy="9296400"/>
  <p:custDataLst>
    <p:tags r:id="rId22"/>
  </p:custDataLst>
  <p:defaultTextStyle>
    <a:defPPr>
      <a:defRPr lang="en-US"/>
    </a:defPPr>
    <a:lvl1pPr marL="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6F8BBE8-5958-4C0B-907A-C92FCA713FDE}">
          <p14:sldIdLst>
            <p14:sldId id="463"/>
            <p14:sldId id="453"/>
            <p14:sldId id="473"/>
            <p14:sldId id="479"/>
            <p14:sldId id="480"/>
            <p14:sldId id="481"/>
            <p14:sldId id="466"/>
            <p14:sldId id="474"/>
            <p14:sldId id="469"/>
            <p14:sldId id="454"/>
            <p14:sldId id="476"/>
            <p14:sldId id="478"/>
            <p14:sldId id="475"/>
            <p14:sldId id="470"/>
            <p14:sldId id="450"/>
            <p14:sldId id="482"/>
            <p14:sldId id="483"/>
            <p14:sldId id="48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los castro" initials="cc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8D11"/>
    <a:srgbClr val="CCE8AE"/>
    <a:srgbClr val="E8E8EB"/>
    <a:srgbClr val="B7B7B9"/>
    <a:srgbClr val="CECDD5"/>
    <a:srgbClr val="FEC1B5"/>
    <a:srgbClr val="FFFFFF"/>
    <a:srgbClr val="96BDE4"/>
    <a:srgbClr val="3C2A70"/>
    <a:srgbClr val="FFF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71179" autoAdjust="0"/>
  </p:normalViewPr>
  <p:slideViewPr>
    <p:cSldViewPr snapToGrid="0">
      <p:cViewPr varScale="1">
        <p:scale>
          <a:sx n="46" d="100"/>
          <a:sy n="46" d="100"/>
        </p:scale>
        <p:origin x="1447" y="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6" d="100"/>
          <a:sy n="46" d="100"/>
        </p:scale>
        <p:origin x="2728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BB3AF39-3865-405C-AD60-DE2C92E0F022}" type="datetimeFigureOut">
              <a:rPr lang="en-US" smtClean="0"/>
              <a:pPr/>
              <a:t>01/1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6532BA5-95EB-44E3-A2B2-5021049704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4758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825D01C-3DBF-4AFD-A8CF-9BF212C8018C}" type="datetimeFigureOut">
              <a:rPr lang="en-US" smtClean="0"/>
              <a:pPr/>
              <a:t>01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492B0DE-5900-4435-96F6-6103D0E9F8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642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373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399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8314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4661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5796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0549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338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Chris</a:t>
            </a: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7810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Chris</a:t>
            </a: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7810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/>
            <a:r>
              <a:rPr lang="en-US" dirty="0" smtClean="0"/>
              <a:t>Bo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429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om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317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Boom</a:t>
            </a:r>
            <a:endParaRPr lang="en-US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1221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Chris</a:t>
            </a: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7810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Chris</a:t>
            </a: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781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ri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7704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baseline="0" dirty="0" smtClean="0"/>
              <a:t>Boom</a:t>
            </a:r>
            <a:endParaRPr lang="en-US" b="0" i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699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baseline="0" dirty="0" smtClean="0"/>
              <a:t>Boom</a:t>
            </a:r>
            <a:endParaRPr lang="en-US" b="0" i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9585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938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42739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069027"/>
            <a:ext cx="12192000" cy="7889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36825" y="1067617"/>
            <a:ext cx="7239000" cy="557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939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9017" y="347940"/>
            <a:ext cx="0" cy="90380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515600" cy="461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2400" b="1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dirty="0" smtClean="0">
                <a:solidFill>
                  <a:schemeClr val="accent1"/>
                </a:solidFill>
              </a:defRPr>
            </a:lvl2pPr>
            <a:lvl3pPr>
              <a:defRPr lang="en-US" dirty="0" smtClean="0">
                <a:solidFill>
                  <a:schemeClr val="accent1"/>
                </a:solidFill>
              </a:defRPr>
            </a:lvl3pPr>
            <a:lvl4pPr>
              <a:defRPr lang="en-US" dirty="0" smtClean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</a:lstStyle>
          <a:p>
            <a:pPr marL="228578" lvl="0" indent="-228578">
              <a:spcBef>
                <a:spcPct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151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762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297180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0" y="2971800"/>
            <a:ext cx="75184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253492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 userDrawn="1"/>
        </p:nvGrpSpPr>
        <p:grpSpPr>
          <a:xfrm rot="5400000" flipH="1">
            <a:off x="8940801" y="2992120"/>
            <a:ext cx="914400" cy="914400"/>
            <a:chOff x="2460624" y="3124200"/>
            <a:chExt cx="914400" cy="9144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2489200" y="312420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rot="5400000">
              <a:off x="2917824" y="268732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0442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111147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1" y="1103217"/>
            <a:ext cx="7518400" cy="914400"/>
          </a:xfrm>
          <a:prstGeom prst="rect">
            <a:avLst/>
          </a:prstGeom>
        </p:spPr>
        <p:txBody>
          <a:bodyPr anchor="ctr"/>
          <a:lstStyle>
            <a:lvl1pPr marL="231775" indent="0" algn="l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67459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2336800" y="2454497"/>
            <a:ext cx="0" cy="3105475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493988" y="2454497"/>
            <a:ext cx="1709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OPE OF THE</a:t>
            </a:r>
            <a:r>
              <a:rPr lang="en-US" baseline="0" dirty="0"/>
              <a:t> MILESTON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336801" y="2483072"/>
            <a:ext cx="7518400" cy="3076899"/>
          </a:xfrm>
          <a:prstGeom prst="rect">
            <a:avLst/>
          </a:prstGeom>
        </p:spPr>
        <p:txBody>
          <a:bodyPr lIns="274320" anchor="t"/>
          <a:lstStyle>
            <a:lvl1pPr marL="457200" indent="-457200" algn="l">
              <a:buFontTx/>
              <a:buBlip>
                <a:blip r:embed="rId2"/>
              </a:buBlip>
              <a:defRPr sz="18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2765424" y="5102771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5874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3429000"/>
            <a:ext cx="110617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9957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022743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</p:spTree>
    <p:extLst>
      <p:ext uri="{BB962C8B-B14F-4D97-AF65-F5344CB8AC3E}">
        <p14:creationId xmlns:p14="http://schemas.microsoft.com/office/powerpoint/2010/main" val="1612621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031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 b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980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3772040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3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634283" y="6412226"/>
            <a:ext cx="456119" cy="347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87" name="Picture 963" descr="http://static-assets.generalassemb.ly/logos/generalassembly-open-graph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" y="6412226"/>
            <a:ext cx="940270" cy="493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8000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1" r:id="rId4"/>
    <p:sldLayoutId id="2147483655" r:id="rId5"/>
    <p:sldLayoutId id="2147483652" r:id="rId6"/>
    <p:sldLayoutId id="2147483654" r:id="rId7"/>
    <p:sldLayoutId id="214748365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0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0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5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EW2Enj/xa0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0.png"/><Relationship Id="rId4" Type="http://schemas.openxmlformats.org/officeDocument/2006/relationships/image" Target="../media/image10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0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484120" y="-1"/>
            <a:ext cx="6560819" cy="1105231"/>
          </a:xfrm>
          <a:solidFill>
            <a:schemeClr val="tx1"/>
          </a:solidFill>
        </p:spPr>
        <p:txBody>
          <a:bodyPr anchor="ctr" anchorCtr="0"/>
          <a:lstStyle/>
          <a:p>
            <a:r>
              <a:rPr lang="en-US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wer Outage Detection:</a:t>
            </a:r>
          </a:p>
          <a:p>
            <a:r>
              <a:rPr lang="en-US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Social Media </a:t>
            </a:r>
            <a:r>
              <a:rPr lang="en-US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Driven </a:t>
            </a:r>
            <a:r>
              <a:rPr lang="en-US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roach</a:t>
            </a:r>
            <a:endParaRPr lang="en-US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05230"/>
            <a:ext cx="12192000" cy="578646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2494222" cy="110523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8759" y="317739"/>
            <a:ext cx="2947687" cy="50067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0" y="5451931"/>
            <a:ext cx="36423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u="sng" dirty="0" smtClean="0">
                <a:solidFill>
                  <a:schemeClr val="bg1"/>
                </a:solidFill>
              </a:rPr>
              <a:t>General Assembly DSI (NYC)</a:t>
            </a:r>
          </a:p>
          <a:p>
            <a:r>
              <a:rPr lang="en-US" i="1" dirty="0" smtClean="0">
                <a:solidFill>
                  <a:schemeClr val="bg1"/>
                </a:solidFill>
              </a:rPr>
              <a:t>  Boom Devahastin Na Ayudhya</a:t>
            </a:r>
          </a:p>
          <a:p>
            <a:r>
              <a:rPr lang="en-US" i="1" dirty="0" smtClean="0">
                <a:solidFill>
                  <a:schemeClr val="bg1"/>
                </a:solidFill>
              </a:rPr>
              <a:t>  Chris Lee</a:t>
            </a:r>
          </a:p>
          <a:p>
            <a:r>
              <a:rPr lang="en-US" i="1" dirty="0" smtClean="0">
                <a:solidFill>
                  <a:schemeClr val="bg1"/>
                </a:solidFill>
              </a:rPr>
              <a:t>  Henry </a:t>
            </a:r>
            <a:r>
              <a:rPr lang="en-US" i="1" dirty="0" err="1" smtClean="0">
                <a:solidFill>
                  <a:schemeClr val="bg1"/>
                </a:solidFill>
              </a:rPr>
              <a:t>Blais</a:t>
            </a:r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805160" y="6344483"/>
            <a:ext cx="12877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i="1" dirty="0" smtClean="0">
                <a:solidFill>
                  <a:schemeClr val="bg1"/>
                </a:solidFill>
              </a:rPr>
              <a:t>January 2019</a:t>
            </a:r>
            <a:endParaRPr lang="en-US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7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</a:t>
            </a:r>
            <a:r>
              <a:rPr lang="en-US" dirty="0" smtClean="0"/>
              <a:t>Preprocess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Tokenizatio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46100" y="1478280"/>
            <a:ext cx="105156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General </a:t>
            </a:r>
            <a:r>
              <a:rPr lang="en-US" b="1" u="sng" dirty="0" smtClean="0"/>
              <a:t>Principl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cess of melting a </a:t>
            </a:r>
            <a:r>
              <a:rPr lang="en-US" dirty="0"/>
              <a:t>body of text </a:t>
            </a:r>
            <a:r>
              <a:rPr lang="en-US" dirty="0" smtClean="0"/>
              <a:t>down to constituent </a:t>
            </a:r>
            <a:r>
              <a:rPr lang="en-US" dirty="0"/>
              <a:t>words </a:t>
            </a:r>
            <a:r>
              <a:rPr lang="en-US" dirty="0" smtClean="0"/>
              <a:t>(tokens).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reate a nested list (i.e. a list of each tweets’ list of tokens) to later iterate through: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ach </a:t>
            </a:r>
            <a:r>
              <a:rPr lang="en-US" dirty="0"/>
              <a:t>tweet will have a list of cleaned </a:t>
            </a:r>
            <a:r>
              <a:rPr lang="en-US" dirty="0" smtClean="0"/>
              <a:t>tokens</a:t>
            </a:r>
          </a:p>
          <a:p>
            <a:pPr marL="742677" lvl="1" indent="-285750">
              <a:buFont typeface="Wingdings" panose="05000000000000000000" pitchFamily="2" charset="2"/>
              <a:buChar char="Ø"/>
            </a:pPr>
            <a:r>
              <a:rPr lang="en-US" dirty="0" smtClean="0"/>
              <a:t>List length = equal </a:t>
            </a:r>
            <a:r>
              <a:rPr lang="en-US" dirty="0"/>
              <a:t>to number of tokens in that </a:t>
            </a:r>
            <a:r>
              <a:rPr lang="en-US" dirty="0" smtClean="0"/>
              <a:t>twe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dirty="0"/>
              <a:t>outer list will contain these inner </a:t>
            </a:r>
            <a:r>
              <a:rPr lang="en-US" dirty="0" smtClean="0"/>
              <a:t>lists</a:t>
            </a:r>
          </a:p>
          <a:p>
            <a:pPr marL="742677" lvl="1" indent="-285750">
              <a:buFont typeface="Wingdings" panose="05000000000000000000" pitchFamily="2" charset="2"/>
              <a:buChar char="Ø"/>
            </a:pPr>
            <a:r>
              <a:rPr lang="en-US" dirty="0" smtClean="0"/>
              <a:t>List length = number </a:t>
            </a:r>
            <a:r>
              <a:rPr lang="en-US" dirty="0"/>
              <a:t>of tweets in our </a:t>
            </a:r>
            <a:r>
              <a:rPr lang="en-US" dirty="0" smtClean="0"/>
              <a:t>scraped dataset</a:t>
            </a:r>
          </a:p>
          <a:p>
            <a:pPr lvl="1"/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ormat is memory-efficient and makes life easier for next step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8860705"/>
              </p:ext>
            </p:extLst>
          </p:nvPr>
        </p:nvGraphicFramePr>
        <p:xfrm>
          <a:off x="931452" y="2670386"/>
          <a:ext cx="10183588" cy="1620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3908"/>
                <a:gridCol w="2644140"/>
                <a:gridCol w="368554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wee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Inner List</a:t>
                      </a:r>
                      <a:r>
                        <a:rPr lang="en-US" sz="1400" baseline="0" dirty="0" smtClean="0"/>
                        <a:t> (</a:t>
                      </a:r>
                      <a:r>
                        <a:rPr lang="en-US" sz="1400" dirty="0" smtClean="0"/>
                        <a:t>of Clean Tokens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Outer List</a:t>
                      </a:r>
                      <a:r>
                        <a:rPr lang="en-US" sz="1400" baseline="0" dirty="0" smtClean="0"/>
                        <a:t> (of Inner Lists)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“I bought a portable cell charger in 2018.”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['bought', 'portable', </a:t>
                      </a:r>
                    </a:p>
                    <a:p>
                      <a:pPr algn="l"/>
                      <a:r>
                        <a:rPr lang="en-US" sz="1400" dirty="0" smtClean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'cell', 'charger‘]</a:t>
                      </a:r>
                      <a:endParaRPr lang="en-US" sz="1400" dirty="0"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l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/>
                        <a:t>[</a:t>
                      </a:r>
                      <a:r>
                        <a:rPr lang="en-US" sz="1400" dirty="0" smtClean="0"/>
                        <a:t> </a:t>
                      </a:r>
                      <a:r>
                        <a:rPr lang="en-US" sz="1400" dirty="0" smtClean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</a:rPr>
                        <a:t>['bought', 'portable', 'cell', 'charger‘]</a:t>
                      </a:r>
                      <a:r>
                        <a:rPr lang="en-US" sz="1800" b="1" dirty="0" smtClean="0"/>
                        <a:t>,</a:t>
                      </a:r>
                      <a:r>
                        <a:rPr lang="en-US" sz="1400" dirty="0" smtClean="0"/>
                        <a:t> 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['massive', 'hits', 'southern', '</a:t>
                      </a:r>
                      <a:r>
                        <a:rPr lang="en-US" sz="1400" dirty="0" err="1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zim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', '</a:t>
                      </a:r>
                      <a:r>
                        <a:rPr lang="en-US" sz="1400" dirty="0" err="1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twimbos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', '</a:t>
                      </a:r>
                      <a:r>
                        <a:rPr lang="en-US" sz="1400" dirty="0" err="1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newsday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', '</a:t>
                      </a:r>
                      <a:r>
                        <a:rPr lang="en-US" sz="1400" dirty="0" err="1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zimbabwe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']</a:t>
                      </a:r>
                      <a:r>
                        <a:rPr lang="en-US" sz="1400" baseline="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800" b="1" dirty="0" smtClean="0"/>
                        <a:t>]</a:t>
                      </a:r>
                      <a:endParaRPr lang="en-US" sz="1400" b="1" dirty="0" smtClean="0"/>
                    </a:p>
                    <a:p>
                      <a:pPr algn="l"/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“Massive power outage hits southern </a:t>
                      </a:r>
                      <a:r>
                        <a:rPr lang="en-US" sz="1400" dirty="0" err="1" smtClean="0"/>
                        <a:t>Zim</a:t>
                      </a:r>
                      <a:r>
                        <a:rPr lang="en-US" sz="1400" dirty="0" smtClean="0"/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http://bit.ly/2EW2Enj\xa0</a:t>
                      </a:r>
                      <a:r>
                        <a:rPr lang="en-US" sz="1400" dirty="0" smtClean="0"/>
                        <a:t> #263Chat #</a:t>
                      </a:r>
                      <a:r>
                        <a:rPr lang="en-US" sz="1400" dirty="0" err="1" smtClean="0"/>
                        <a:t>Twimbos</a:t>
                      </a:r>
                      <a:r>
                        <a:rPr lang="en-US" sz="1400" dirty="0" smtClean="0"/>
                        <a:t> #</a:t>
                      </a:r>
                      <a:r>
                        <a:rPr lang="en-US" sz="1400" dirty="0" err="1" smtClean="0"/>
                        <a:t>NewsDay</a:t>
                      </a:r>
                      <a:r>
                        <a:rPr lang="en-US" sz="1400" dirty="0" smtClean="0"/>
                        <a:t> #Zimbabwe‘”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['massive', 'hits', 'southern', '</a:t>
                      </a:r>
                      <a:r>
                        <a:rPr lang="en-US" sz="1400" dirty="0" err="1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zim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', '</a:t>
                      </a:r>
                      <a:r>
                        <a:rPr lang="en-US" sz="1400" dirty="0" err="1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twimbos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', '</a:t>
                      </a:r>
                      <a:r>
                        <a:rPr lang="en-US" sz="1400" dirty="0" err="1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newsday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', '</a:t>
                      </a:r>
                      <a:r>
                        <a:rPr lang="en-US" sz="1400" dirty="0" err="1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zimbabwe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']</a:t>
                      </a:r>
                      <a:endParaRPr lang="en-US" sz="14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l"/>
                      <a:endParaRPr lang="en-US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946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Word2Vec Vectorization – Brief Introdu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Word2Vec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46100" y="1409700"/>
            <a:ext cx="108839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General </a:t>
            </a:r>
            <a:r>
              <a:rPr lang="en-US" b="1" u="sng" dirty="0" smtClean="0"/>
              <a:t>Idea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odel based on shallow neural networks that converts words into something computer can understand (e.g. 300 dimensional vecto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ach </a:t>
            </a:r>
            <a:r>
              <a:rPr lang="en-US" dirty="0" smtClean="0"/>
              <a:t>word is assigned a vector positioned in the space such that words in similar contexts will be positioned closely together</a:t>
            </a:r>
          </a:p>
          <a:p>
            <a:endParaRPr lang="en-US" dirty="0" smtClean="0"/>
          </a:p>
          <a:p>
            <a:endParaRPr lang="en-US" dirty="0"/>
          </a:p>
          <a:p>
            <a:r>
              <a:rPr lang="en-US" b="1" u="sng" dirty="0" smtClean="0"/>
              <a:t>How are we using it?</a:t>
            </a:r>
            <a:endParaRPr lang="en-US" dirty="0"/>
          </a:p>
          <a:p>
            <a:pPr marL="799827" lvl="1" indent="-342900">
              <a:buFont typeface="+mj-lt"/>
              <a:buAutoNum type="arabicPeriod"/>
            </a:pPr>
            <a:r>
              <a:rPr lang="en-US" dirty="0" smtClean="0"/>
              <a:t>Train on Google News corpus (3M words</a:t>
            </a:r>
            <a:r>
              <a:rPr lang="en-US" dirty="0" smtClean="0"/>
              <a:t>)</a:t>
            </a:r>
          </a:p>
          <a:p>
            <a:pPr marL="799827" lvl="1" indent="-342900">
              <a:buFont typeface="+mj-lt"/>
              <a:buAutoNum type="arabicPeriod"/>
            </a:pPr>
            <a:endParaRPr lang="en-US" dirty="0" smtClean="0"/>
          </a:p>
          <a:p>
            <a:pPr marL="799827" lvl="1" indent="-342900">
              <a:buFont typeface="+mj-lt"/>
              <a:buAutoNum type="arabicPeriod"/>
            </a:pPr>
            <a:r>
              <a:rPr lang="en-US" dirty="0" smtClean="0"/>
              <a:t>Define </a:t>
            </a:r>
            <a:r>
              <a:rPr lang="en-US" dirty="0" smtClean="0"/>
              <a:t>bag of words for 2 classes:</a:t>
            </a:r>
          </a:p>
          <a:p>
            <a:pPr marL="1199601" lvl="2" indent="-285750">
              <a:buFont typeface="Wingdings" panose="05000000000000000000" pitchFamily="2" charset="2"/>
              <a:buChar char="Ø"/>
            </a:pPr>
            <a:r>
              <a:rPr lang="en-US" dirty="0" smtClean="0"/>
              <a:t>Serious / actual electrical blackout</a:t>
            </a:r>
          </a:p>
          <a:p>
            <a:pPr marL="1199601" lvl="2" indent="-285750">
              <a:buFont typeface="Wingdings" panose="05000000000000000000" pitchFamily="2" charset="2"/>
              <a:buChar char="Ø"/>
            </a:pPr>
            <a:r>
              <a:rPr lang="en-US" dirty="0" smtClean="0"/>
              <a:t>Non-serious / irrelevant blackouts (e.g. Netflix, drunken night)</a:t>
            </a:r>
            <a:endParaRPr lang="en-US" dirty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3</a:t>
            </a:r>
            <a:r>
              <a:rPr lang="en-US" dirty="0" smtClean="0"/>
              <a:t>. </a:t>
            </a:r>
            <a:r>
              <a:rPr lang="en-US" dirty="0" smtClean="0"/>
              <a:t>Obtain </a:t>
            </a:r>
            <a:r>
              <a:rPr lang="en-US" b="1" dirty="0" smtClean="0"/>
              <a:t>representative vector for each </a:t>
            </a:r>
            <a:r>
              <a:rPr lang="en-US" b="1" u="sng" dirty="0" smtClean="0"/>
              <a:t>class </a:t>
            </a:r>
            <a:r>
              <a:rPr lang="en-US" dirty="0" smtClean="0"/>
              <a:t>by </a:t>
            </a:r>
            <a:r>
              <a:rPr lang="en-US" dirty="0" err="1" smtClean="0"/>
              <a:t>vectorizing</a:t>
            </a:r>
            <a:r>
              <a:rPr lang="en-US" dirty="0" smtClean="0"/>
              <a:t> </a:t>
            </a:r>
            <a:r>
              <a:rPr lang="en-US" dirty="0"/>
              <a:t>all words in </a:t>
            </a:r>
            <a:r>
              <a:rPr lang="en-US" dirty="0" smtClean="0"/>
              <a:t>bag, </a:t>
            </a:r>
            <a:r>
              <a:rPr lang="en-US" dirty="0" smtClean="0"/>
              <a:t>then average</a:t>
            </a: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3340781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Defining Bag of Words for Class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Word2Vec</a:t>
            </a:r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5940093"/>
              </p:ext>
            </p:extLst>
          </p:nvPr>
        </p:nvGraphicFramePr>
        <p:xfrm>
          <a:off x="850900" y="1733126"/>
          <a:ext cx="10380980" cy="37834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5140"/>
                <a:gridCol w="8625840"/>
              </a:tblGrid>
              <a:tr h="113171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las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ag</a:t>
                      </a:r>
                      <a:r>
                        <a:rPr lang="en-US" baseline="0" dirty="0" smtClean="0"/>
                        <a:t> of Words</a:t>
                      </a:r>
                      <a:endParaRPr lang="en-US" dirty="0"/>
                    </a:p>
                  </a:txBody>
                  <a:tcPr anchor="ctr"/>
                </a:tc>
              </a:tr>
              <a:tr h="113171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eriou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'electricity</a:t>
                      </a:r>
                      <a:r>
                        <a:rPr lang="en-US" dirty="0" smtClean="0"/>
                        <a:t>', 'electrical', '</a:t>
                      </a:r>
                      <a:r>
                        <a:rPr lang="en-US" dirty="0" err="1" smtClean="0"/>
                        <a:t>conedison</a:t>
                      </a:r>
                      <a:r>
                        <a:rPr lang="en-US" dirty="0" smtClean="0"/>
                        <a:t>', 'con </a:t>
                      </a:r>
                      <a:r>
                        <a:rPr lang="en-US" dirty="0" err="1" smtClean="0"/>
                        <a:t>edison</a:t>
                      </a:r>
                      <a:r>
                        <a:rPr lang="en-US" dirty="0" smtClean="0"/>
                        <a:t>', 'generator', 'generators', </a:t>
                      </a:r>
                      <a:br>
                        <a:rPr lang="en-US" dirty="0" smtClean="0"/>
                      </a:br>
                      <a:r>
                        <a:rPr lang="en-US" dirty="0" smtClean="0"/>
                        <a:t>‘failure', 'malfunction', 'fuse', 'blow', 'explode', 'power grid',</a:t>
                      </a:r>
                      <a:br>
                        <a:rPr lang="en-US" dirty="0" smtClean="0"/>
                      </a:br>
                      <a:r>
                        <a:rPr lang="en-US" dirty="0" smtClean="0"/>
                        <a:t>'breaker', 'loss',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 'dark', 'darkness', 'pitch black', 'blind',</a:t>
                      </a:r>
                      <a:br>
                        <a:rPr lang="en-US" dirty="0" smtClean="0"/>
                      </a:br>
                      <a:r>
                        <a:rPr lang="en-US" dirty="0" smtClean="0"/>
                        <a:t>'massive',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 'major', 'serious', 'inclement', 'surge', 'storm',</a:t>
                      </a:r>
                      <a:br>
                        <a:rPr lang="en-US" dirty="0" smtClean="0"/>
                      </a:br>
                      <a:r>
                        <a:rPr lang="en-US" dirty="0" smtClean="0"/>
                        <a:t>'solar flare', 'alert', 'light', 'lights</a:t>
                      </a:r>
                      <a:r>
                        <a:rPr lang="en-US" dirty="0" smtClean="0"/>
                        <a:t>'</a:t>
                      </a:r>
                      <a:endParaRPr lang="en-US" dirty="0"/>
                    </a:p>
                  </a:txBody>
                  <a:tcPr anchor="ctr"/>
                </a:tc>
              </a:tr>
              <a:tr h="1131711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Irrelevan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'</a:t>
                      </a:r>
                      <a:r>
                        <a:rPr lang="en-US" dirty="0" err="1" smtClean="0"/>
                        <a:t>netflix</a:t>
                      </a:r>
                      <a:r>
                        <a:rPr lang="en-US" dirty="0" smtClean="0"/>
                        <a:t>', '</a:t>
                      </a:r>
                      <a:r>
                        <a:rPr lang="en-US" dirty="0" err="1" smtClean="0"/>
                        <a:t>hulu</a:t>
                      </a:r>
                      <a:r>
                        <a:rPr lang="en-US" dirty="0" smtClean="0"/>
                        <a:t>', 'time warner', '</a:t>
                      </a:r>
                      <a:r>
                        <a:rPr lang="en-US" dirty="0" err="1" smtClean="0"/>
                        <a:t>twc</a:t>
                      </a:r>
                      <a:r>
                        <a:rPr lang="en-US" dirty="0" smtClean="0"/>
                        <a:t>', '</a:t>
                      </a:r>
                      <a:r>
                        <a:rPr lang="en-US" dirty="0" err="1" smtClean="0"/>
                        <a:t>at&amp;t</a:t>
                      </a:r>
                      <a:r>
                        <a:rPr lang="en-US" dirty="0" smtClean="0"/>
                        <a:t>',</a:t>
                      </a:r>
                    </a:p>
                    <a:p>
                      <a:pPr algn="l"/>
                      <a:r>
                        <a:rPr lang="en-US" dirty="0" smtClean="0"/>
                        <a:t>'</a:t>
                      </a:r>
                      <a:r>
                        <a:rPr lang="en-US" dirty="0" err="1" smtClean="0"/>
                        <a:t>att</a:t>
                      </a:r>
                      <a:r>
                        <a:rPr lang="en-US" dirty="0" smtClean="0"/>
                        <a:t>', '</a:t>
                      </a:r>
                      <a:r>
                        <a:rPr lang="en-US" dirty="0" err="1" smtClean="0"/>
                        <a:t>verizon</a:t>
                      </a:r>
                      <a:r>
                        <a:rPr lang="en-US" dirty="0" smtClean="0"/>
                        <a:t>', '</a:t>
                      </a:r>
                      <a:r>
                        <a:rPr lang="en-US" dirty="0" err="1" smtClean="0"/>
                        <a:t>tmobile</a:t>
                      </a:r>
                      <a:r>
                        <a:rPr lang="en-US" dirty="0" smtClean="0"/>
                        <a:t>', '</a:t>
                      </a:r>
                      <a:r>
                        <a:rPr lang="en-US" dirty="0" err="1" smtClean="0"/>
                        <a:t>t-mobile</a:t>
                      </a:r>
                      <a:r>
                        <a:rPr lang="en-US" dirty="0" smtClean="0"/>
                        <a:t>', 'phone',</a:t>
                      </a:r>
                    </a:p>
                    <a:p>
                      <a:pPr algn="l"/>
                      <a:r>
                        <a:rPr lang="en-US" dirty="0" smtClean="0"/>
                        <a:t>'internet', 'wireless' 'conference', 'prepare', 'meeting',</a:t>
                      </a:r>
                    </a:p>
                    <a:p>
                      <a:pPr algn="l"/>
                      <a:r>
                        <a:rPr lang="en-US" dirty="0" smtClean="0"/>
                        <a:t>'strength', 'training', 'discipline', '</a:t>
                      </a:r>
                      <a:r>
                        <a:rPr lang="en-US" dirty="0" err="1" smtClean="0"/>
                        <a:t>vicpowers</a:t>
                      </a:r>
                      <a:r>
                        <a:rPr lang="en-US" dirty="0" smtClean="0"/>
                        <a:t>', 'baseball</a:t>
                      </a:r>
                      <a:r>
                        <a:rPr lang="en-US" dirty="0" smtClean="0"/>
                        <a:t>'</a:t>
                      </a:r>
                      <a:endParaRPr lang="en-US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4082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Modeling</a:t>
            </a:r>
            <a:r>
              <a:rPr lang="en-US" dirty="0"/>
              <a:t>: Word2Ve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z="1050" smtClean="0"/>
              <a:pPr/>
              <a:t>13</a:t>
            </a:fld>
            <a:endParaRPr lang="en-US" sz="105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1219180" cy="461962"/>
          </a:xfrm>
        </p:spPr>
        <p:txBody>
          <a:bodyPr/>
          <a:lstStyle/>
          <a:p>
            <a:r>
              <a:rPr lang="en-US" dirty="0"/>
              <a:t>Example </a:t>
            </a:r>
            <a:r>
              <a:rPr lang="en-US" dirty="0" smtClean="0"/>
              <a:t>– </a:t>
            </a:r>
            <a:r>
              <a:rPr lang="en-US" dirty="0" err="1" smtClean="0">
                <a:solidFill>
                  <a:srgbClr val="00B0F0"/>
                </a:solidFill>
              </a:rPr>
              <a:t>class_bag_of_words</a:t>
            </a:r>
            <a:r>
              <a:rPr lang="en-US" dirty="0" smtClean="0">
                <a:solidFill>
                  <a:srgbClr val="00B0F0"/>
                </a:solidFill>
              </a:rPr>
              <a:t> =  [“electric”, “power”, “outage”]</a:t>
            </a:r>
            <a:endParaRPr lang="en-US" dirty="0">
              <a:solidFill>
                <a:srgbClr val="00B0F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08050" y="1415639"/>
            <a:ext cx="11448054" cy="4890669"/>
            <a:chOff x="708050" y="1415639"/>
            <a:chExt cx="11448054" cy="4890669"/>
          </a:xfrm>
        </p:grpSpPr>
        <p:sp>
          <p:nvSpPr>
            <p:cNvPr id="3" name="TextBox 2"/>
            <p:cNvSpPr txBox="1"/>
            <p:nvPr/>
          </p:nvSpPr>
          <p:spPr>
            <a:xfrm>
              <a:off x="720425" y="2339895"/>
              <a:ext cx="14813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solidFill>
                    <a:srgbClr val="00B0F0"/>
                  </a:solidFill>
                </a:rPr>
                <a:t>“electric”</a:t>
              </a:r>
              <a:endParaRPr lang="en-US" sz="2400" dirty="0">
                <a:solidFill>
                  <a:srgbClr val="00B0F0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708050" y="3817771"/>
              <a:ext cx="1409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solidFill>
                    <a:srgbClr val="00B0F0"/>
                  </a:solidFill>
                </a:rPr>
                <a:t>“power”</a:t>
              </a:r>
              <a:endParaRPr lang="en-US" sz="2400" dirty="0">
                <a:solidFill>
                  <a:srgbClr val="00B0F0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08050" y="5263743"/>
              <a:ext cx="159251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solidFill>
                    <a:srgbClr val="00B0F0"/>
                  </a:solidFill>
                </a:rPr>
                <a:t>“outage”</a:t>
              </a:r>
              <a:endParaRPr lang="en-US" sz="2400" dirty="0">
                <a:solidFill>
                  <a:srgbClr val="00B0F0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TextBox 9"/>
                <p:cNvSpPr txBox="1"/>
                <p:nvPr/>
              </p:nvSpPr>
              <p:spPr>
                <a:xfrm>
                  <a:off x="6476169" y="2112029"/>
                  <a:ext cx="513281" cy="97661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["/>
                            <m:endChr m:val="]"/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e>
                              </m:mr>
                            </m:m>
                          </m:e>
                        </m:d>
                      </m:oMath>
                    </m:oMathPara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" name="TextBox 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76169" y="2112029"/>
                  <a:ext cx="513281" cy="976614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TextBox 11"/>
                <p:cNvSpPr txBox="1"/>
                <p:nvPr/>
              </p:nvSpPr>
              <p:spPr>
                <a:xfrm>
                  <a:off x="6475215" y="3572008"/>
                  <a:ext cx="513282" cy="97661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["/>
                            <m:endChr m:val="]"/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9</m:t>
                                  </m:r>
                                </m:e>
                              </m:mr>
                            </m:m>
                          </m:e>
                        </m:d>
                      </m:oMath>
                    </m:oMathPara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2" name="TextBox 1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75215" y="3572008"/>
                  <a:ext cx="513282" cy="976614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TextBox 13"/>
                <p:cNvSpPr txBox="1"/>
                <p:nvPr/>
              </p:nvSpPr>
              <p:spPr>
                <a:xfrm>
                  <a:off x="10781869" y="3566716"/>
                  <a:ext cx="513281" cy="97398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["/>
                            <m:endChr m:val="]"/>
                            <m:ctrlPr>
                              <a:rPr lang="en-US" sz="2400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en-US" sz="2400" b="0" i="1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sz="2400" b="0" i="1" smtClean="0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7</m:t>
                                  </m:r>
                                </m:e>
                              </m:mr>
                            </m:m>
                          </m:e>
                        </m:d>
                      </m:oMath>
                    </m:oMathPara>
                  </a14:m>
                  <a:endParaRPr lang="en-US" sz="2400" dirty="0">
                    <a:solidFill>
                      <a:srgbClr val="00B050"/>
                    </a:solidFill>
                  </a:endParaRPr>
                </a:p>
              </p:txBody>
            </p:sp>
          </mc:Choice>
          <mc:Fallback xmlns="">
            <p:sp>
              <p:nvSpPr>
                <p:cNvPr id="14" name="TextBox 1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781869" y="3566716"/>
                  <a:ext cx="513281" cy="973985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9" name="Group 18"/>
            <p:cNvGrpSpPr/>
            <p:nvPr/>
          </p:nvGrpSpPr>
          <p:grpSpPr>
            <a:xfrm>
              <a:off x="2728635" y="2173932"/>
              <a:ext cx="2529840" cy="868680"/>
              <a:chOff x="2500035" y="1823412"/>
              <a:chExt cx="2529840" cy="868680"/>
            </a:xfrm>
          </p:grpSpPr>
          <p:sp>
            <p:nvSpPr>
              <p:cNvPr id="17" name="Right Arrow 16"/>
              <p:cNvSpPr/>
              <p:nvPr/>
            </p:nvSpPr>
            <p:spPr>
              <a:xfrm>
                <a:off x="2500035" y="1823412"/>
                <a:ext cx="2529840" cy="868680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2910840" y="2063040"/>
                <a:ext cx="14478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bg1"/>
                    </a:solidFill>
                  </a:rPr>
                  <a:t>Word2Vec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2728635" y="3614264"/>
              <a:ext cx="2529840" cy="868680"/>
              <a:chOff x="2500035" y="1823412"/>
              <a:chExt cx="2529840" cy="868680"/>
            </a:xfrm>
          </p:grpSpPr>
          <p:sp>
            <p:nvSpPr>
              <p:cNvPr id="21" name="Right Arrow 20"/>
              <p:cNvSpPr/>
              <p:nvPr/>
            </p:nvSpPr>
            <p:spPr>
              <a:xfrm>
                <a:off x="2500035" y="1823412"/>
                <a:ext cx="2529840" cy="868680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2"/>
                  </a:solidFill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2910840" y="2063040"/>
                <a:ext cx="14478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bg1"/>
                    </a:solidFill>
                  </a:rPr>
                  <a:t>Word2Vec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7" name="Oval 26"/>
            <p:cNvSpPr/>
            <p:nvPr/>
          </p:nvSpPr>
          <p:spPr>
            <a:xfrm>
              <a:off x="5893742" y="1814322"/>
              <a:ext cx="1709404" cy="4491986"/>
            </a:xfrm>
            <a:prstGeom prst="ellipse">
              <a:avLst/>
            </a:prstGeom>
            <a:noFill/>
            <a:ln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7965604" y="3673368"/>
              <a:ext cx="2529840" cy="868680"/>
              <a:chOff x="2500035" y="1823412"/>
              <a:chExt cx="2529840" cy="868680"/>
            </a:xfrm>
            <a:solidFill>
              <a:srgbClr val="00B050"/>
            </a:solidFill>
          </p:grpSpPr>
          <p:sp>
            <p:nvSpPr>
              <p:cNvPr id="29" name="Right Arrow 28"/>
              <p:cNvSpPr/>
              <p:nvPr/>
            </p:nvSpPr>
            <p:spPr>
              <a:xfrm>
                <a:off x="2500035" y="1823412"/>
                <a:ext cx="2529840" cy="868680"/>
              </a:xfrm>
              <a:prstGeom prst="rightArrow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2"/>
                  </a:solidFill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2910840" y="2063040"/>
                <a:ext cx="1447800" cy="369332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chemeClr val="bg1"/>
                    </a:solidFill>
                  </a:rPr>
                  <a:t>Average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6" name="TextBox 35"/>
            <p:cNvSpPr txBox="1"/>
            <p:nvPr/>
          </p:nvSpPr>
          <p:spPr>
            <a:xfrm>
              <a:off x="741117" y="1415639"/>
              <a:ext cx="152637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u="sng" dirty="0" smtClean="0"/>
                <a:t>Word in Bag</a:t>
              </a:r>
              <a:endParaRPr lang="en-US" u="sng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943018" y="1462137"/>
              <a:ext cx="1556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u="sng" dirty="0" smtClean="0"/>
                <a:t>Word Vector</a:t>
              </a:r>
              <a:endParaRPr lang="en-US" u="sng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0094321" y="1444651"/>
              <a:ext cx="20617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u="sng" dirty="0" smtClean="0"/>
                <a:t>Class Rep Vector</a:t>
              </a:r>
              <a:endParaRPr lang="en-US" u="sng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9" name="TextBox 38"/>
                <p:cNvSpPr txBox="1"/>
                <p:nvPr/>
              </p:nvSpPr>
              <p:spPr>
                <a:xfrm>
                  <a:off x="6475215" y="4952301"/>
                  <a:ext cx="513282" cy="97289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["/>
                            <m:endChr m:val="]"/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7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7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7</m:t>
                                  </m:r>
                                </m:e>
                              </m:mr>
                            </m:m>
                          </m:e>
                        </m:d>
                      </m:oMath>
                    </m:oMathPara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39" name="TextBox 3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75215" y="4952301"/>
                  <a:ext cx="513282" cy="972895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40" name="Group 39"/>
            <p:cNvGrpSpPr/>
            <p:nvPr/>
          </p:nvGrpSpPr>
          <p:grpSpPr>
            <a:xfrm>
              <a:off x="2711153" y="5060235"/>
              <a:ext cx="2529840" cy="868680"/>
              <a:chOff x="2500035" y="1823412"/>
              <a:chExt cx="2529840" cy="868680"/>
            </a:xfrm>
          </p:grpSpPr>
          <p:sp>
            <p:nvSpPr>
              <p:cNvPr id="41" name="Right Arrow 40"/>
              <p:cNvSpPr/>
              <p:nvPr/>
            </p:nvSpPr>
            <p:spPr>
              <a:xfrm>
                <a:off x="2500035" y="1823412"/>
                <a:ext cx="2529840" cy="868680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2"/>
                  </a:solidFill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2910840" y="2063040"/>
                <a:ext cx="14478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bg1"/>
                    </a:solidFill>
                  </a:rPr>
                  <a:t>Word2Vec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57923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</a:t>
            </a:r>
            <a:r>
              <a:rPr lang="en-US" dirty="0" smtClean="0"/>
              <a:t>Word2Ve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z="1050" smtClean="0"/>
              <a:pPr/>
              <a:t>14</a:t>
            </a:fld>
            <a:endParaRPr lang="en-US" sz="105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r>
              <a:rPr lang="en-US" dirty="0"/>
              <a:t> </a:t>
            </a:r>
            <a:r>
              <a:rPr lang="en-US" dirty="0" smtClean="0"/>
              <a:t>– Tweet: </a:t>
            </a:r>
            <a:r>
              <a:rPr lang="en-US" dirty="0" smtClean="0">
                <a:solidFill>
                  <a:srgbClr val="00B0F0"/>
                </a:solidFill>
              </a:rPr>
              <a:t>“Hello World! #</a:t>
            </a:r>
            <a:r>
              <a:rPr lang="en-US" dirty="0" err="1" smtClean="0">
                <a:solidFill>
                  <a:srgbClr val="00B0F0"/>
                </a:solidFill>
              </a:rPr>
              <a:t>Bazinga</a:t>
            </a:r>
            <a:r>
              <a:rPr lang="en-US" dirty="0" smtClean="0">
                <a:solidFill>
                  <a:srgbClr val="00B0F0"/>
                </a:solidFill>
              </a:rPr>
              <a:t>”</a:t>
            </a:r>
            <a:endParaRPr lang="en-US" dirty="0">
              <a:solidFill>
                <a:srgbClr val="00B0F0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624062" y="1444651"/>
            <a:ext cx="11448966" cy="5253784"/>
            <a:chOff x="624062" y="1444651"/>
            <a:chExt cx="11448966" cy="5253784"/>
          </a:xfrm>
        </p:grpSpPr>
        <p:sp>
          <p:nvSpPr>
            <p:cNvPr id="3" name="TextBox 2"/>
            <p:cNvSpPr txBox="1"/>
            <p:nvPr/>
          </p:nvSpPr>
          <p:spPr>
            <a:xfrm>
              <a:off x="720425" y="2339895"/>
              <a:ext cx="117566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solidFill>
                    <a:srgbClr val="00B0F0"/>
                  </a:solidFill>
                </a:rPr>
                <a:t>“hello”</a:t>
              </a:r>
              <a:endParaRPr lang="en-US" sz="2400" dirty="0">
                <a:solidFill>
                  <a:srgbClr val="00B0F0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708050" y="3817771"/>
              <a:ext cx="14097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solidFill>
                    <a:srgbClr val="00B0F0"/>
                  </a:solidFill>
                </a:rPr>
                <a:t>“world”</a:t>
              </a:r>
              <a:endParaRPr lang="en-US" sz="2400" dirty="0">
                <a:solidFill>
                  <a:srgbClr val="00B0F0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08050" y="5263743"/>
              <a:ext cx="159251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solidFill>
                    <a:srgbClr val="00B0F0"/>
                  </a:solidFill>
                </a:rPr>
                <a:t>“</a:t>
              </a:r>
              <a:r>
                <a:rPr lang="en-US" sz="2400" dirty="0" err="1" smtClean="0">
                  <a:solidFill>
                    <a:srgbClr val="00B0F0"/>
                  </a:solidFill>
                </a:rPr>
                <a:t>bazinga</a:t>
              </a:r>
              <a:r>
                <a:rPr lang="en-US" sz="2400" dirty="0" smtClean="0">
                  <a:solidFill>
                    <a:srgbClr val="00B0F0"/>
                  </a:solidFill>
                </a:rPr>
                <a:t>”</a:t>
              </a:r>
              <a:endParaRPr lang="en-US" sz="2400" dirty="0">
                <a:solidFill>
                  <a:srgbClr val="00B0F0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TextBox 9"/>
                <p:cNvSpPr txBox="1"/>
                <p:nvPr/>
              </p:nvSpPr>
              <p:spPr>
                <a:xfrm>
                  <a:off x="6476169" y="2112029"/>
                  <a:ext cx="513281" cy="97661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["/>
                            <m:endChr m:val="]"/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e>
                              </m:mr>
                            </m:m>
                          </m:e>
                        </m:d>
                      </m:oMath>
                    </m:oMathPara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0" name="TextBox 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76169" y="2112029"/>
                  <a:ext cx="513281" cy="976614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TextBox 11"/>
                <p:cNvSpPr txBox="1"/>
                <p:nvPr/>
              </p:nvSpPr>
              <p:spPr>
                <a:xfrm>
                  <a:off x="6475215" y="3572008"/>
                  <a:ext cx="513282" cy="97661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["/>
                            <m:endChr m:val="]"/>
                            <m:ctrlPr>
                              <a:rPr lang="en-US" sz="2400" b="0" i="1" smtClean="0">
                                <a:solidFill>
                                  <a:schemeClr val="tx1">
                                    <a:lumMod val="75000"/>
                                    <a:lumOff val="25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en-US" sz="2400" b="0" i="1" smtClean="0">
                                    <a:solidFill>
                                      <a:schemeClr val="tx1">
                                        <a:lumMod val="75000"/>
                                        <a:lumOff val="25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chemeClr val="tx1">
                                          <a:lumMod val="75000"/>
                                          <a:lumOff val="2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9</m:t>
                                  </m:r>
                                </m:e>
                              </m:mr>
                            </m:m>
                          </m:e>
                        </m:d>
                      </m:oMath>
                    </m:oMathPara>
                  </a14:m>
                  <a:endParaRPr lang="en-US" sz="2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12" name="TextBox 1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75215" y="3572008"/>
                  <a:ext cx="513282" cy="976614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TextBox 13"/>
                <p:cNvSpPr txBox="1"/>
                <p:nvPr/>
              </p:nvSpPr>
              <p:spPr>
                <a:xfrm>
                  <a:off x="10681454" y="2842439"/>
                  <a:ext cx="513281" cy="975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["/>
                            <m:endChr m:val="]"/>
                            <m:ctrlPr>
                              <a:rPr lang="en-US" sz="2400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m>
                              <m:mPr>
                                <m:mcs>
                                  <m:mc>
                                    <m:mcPr>
                                      <m:count m:val="1"/>
                                      <m:mcJc m:val="center"/>
                                    </m:mcPr>
                                  </m:mc>
                                </m:mcs>
                                <m:ctrlPr>
                                  <a:rPr lang="en-US" sz="2400" b="0" i="1" smtClean="0">
                                    <a:solidFill>
                                      <a:srgbClr val="00B05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mPr>
                              <m:mr>
                                <m:e>
                                  <m:r>
                                    <m:rPr>
                                      <m:brk m:alnAt="7"/>
                                    </m:rPr>
                                    <a:rPr lang="en-US" sz="2400" b="0" i="1" smtClean="0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e>
                              </m:mr>
                              <m:mr>
                                <m:e>
                                  <m:r>
                                    <a:rPr lang="en-US" sz="2400" b="0" i="1" smtClean="0">
                                      <a:solidFill>
                                        <a:srgbClr val="00B050"/>
                                      </a:solidFill>
                                      <a:latin typeface="Cambria Math" panose="02040503050406030204" pitchFamily="18" charset="0"/>
                                    </a:rPr>
                                    <m:t>7</m:t>
                                  </m:r>
                                </m:e>
                              </m:mr>
                            </m:m>
                          </m:e>
                        </m:d>
                      </m:oMath>
                    </m:oMathPara>
                  </a14:m>
                  <a:endParaRPr lang="en-US" sz="2400" dirty="0">
                    <a:solidFill>
                      <a:srgbClr val="00B050"/>
                    </a:solidFill>
                  </a:endParaRPr>
                </a:p>
              </p:txBody>
            </p:sp>
          </mc:Choice>
          <mc:Fallback xmlns="">
            <p:sp>
              <p:nvSpPr>
                <p:cNvPr id="14" name="TextBox 1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681454" y="2842439"/>
                  <a:ext cx="513281" cy="975332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9" name="Group 18"/>
            <p:cNvGrpSpPr/>
            <p:nvPr/>
          </p:nvGrpSpPr>
          <p:grpSpPr>
            <a:xfrm>
              <a:off x="2728635" y="2173932"/>
              <a:ext cx="2529840" cy="868680"/>
              <a:chOff x="2500035" y="1823412"/>
              <a:chExt cx="2529840" cy="868680"/>
            </a:xfrm>
          </p:grpSpPr>
          <p:sp>
            <p:nvSpPr>
              <p:cNvPr id="17" name="Right Arrow 16"/>
              <p:cNvSpPr/>
              <p:nvPr/>
            </p:nvSpPr>
            <p:spPr>
              <a:xfrm>
                <a:off x="2500035" y="1823412"/>
                <a:ext cx="2529840" cy="868680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2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2910840" y="2063040"/>
                <a:ext cx="14478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bg1"/>
                    </a:solidFill>
                  </a:rPr>
                  <a:t>Word2Vec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2728635" y="3614264"/>
              <a:ext cx="2529840" cy="868680"/>
              <a:chOff x="2500035" y="1823412"/>
              <a:chExt cx="2529840" cy="868680"/>
            </a:xfrm>
          </p:grpSpPr>
          <p:sp>
            <p:nvSpPr>
              <p:cNvPr id="21" name="Right Arrow 20"/>
              <p:cNvSpPr/>
              <p:nvPr/>
            </p:nvSpPr>
            <p:spPr>
              <a:xfrm>
                <a:off x="2500035" y="1823412"/>
                <a:ext cx="2529840" cy="868680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2"/>
                  </a:solidFill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2910840" y="2063040"/>
                <a:ext cx="14478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>
                    <a:solidFill>
                      <a:schemeClr val="bg1"/>
                    </a:solidFill>
                  </a:rPr>
                  <a:t>Word2Vec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7" name="Oval 26"/>
            <p:cNvSpPr/>
            <p:nvPr/>
          </p:nvSpPr>
          <p:spPr>
            <a:xfrm>
              <a:off x="5869360" y="1920240"/>
              <a:ext cx="1709404" cy="3139996"/>
            </a:xfrm>
            <a:prstGeom prst="ellipse">
              <a:avLst/>
            </a:prstGeom>
            <a:noFill/>
            <a:ln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7865189" y="2949091"/>
              <a:ext cx="2529840" cy="868680"/>
              <a:chOff x="2500035" y="1823412"/>
              <a:chExt cx="2529840" cy="868680"/>
            </a:xfrm>
            <a:solidFill>
              <a:srgbClr val="00B050"/>
            </a:solidFill>
          </p:grpSpPr>
          <p:sp>
            <p:nvSpPr>
              <p:cNvPr id="29" name="Right Arrow 28"/>
              <p:cNvSpPr/>
              <p:nvPr/>
            </p:nvSpPr>
            <p:spPr>
              <a:xfrm>
                <a:off x="2500035" y="1823412"/>
                <a:ext cx="2529840" cy="868680"/>
              </a:xfrm>
              <a:prstGeom prst="rightArrow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2"/>
                  </a:solidFill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2910840" y="2063040"/>
                <a:ext cx="1447800" cy="369332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chemeClr val="bg1"/>
                    </a:solidFill>
                  </a:rPr>
                  <a:t>Average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2721755" y="5060235"/>
              <a:ext cx="2529840" cy="868680"/>
              <a:chOff x="2500035" y="1823412"/>
              <a:chExt cx="2529840" cy="868680"/>
            </a:xfrm>
          </p:grpSpPr>
          <p:sp>
            <p:nvSpPr>
              <p:cNvPr id="33" name="Right Arrow 32"/>
              <p:cNvSpPr/>
              <p:nvPr/>
            </p:nvSpPr>
            <p:spPr>
              <a:xfrm>
                <a:off x="2500035" y="1823412"/>
                <a:ext cx="2529840" cy="868680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2"/>
                  </a:solidFill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2910840" y="2063040"/>
                <a:ext cx="14478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1" name="Multiply 30"/>
            <p:cNvSpPr/>
            <p:nvPr/>
          </p:nvSpPr>
          <p:spPr>
            <a:xfrm>
              <a:off x="2115562" y="4333767"/>
              <a:ext cx="3444915" cy="2364668"/>
            </a:xfrm>
            <a:prstGeom prst="mathMultiply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0000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782341" y="5347824"/>
              <a:ext cx="24086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Not in </a:t>
              </a:r>
              <a:r>
                <a:rPr lang="en-US" b="1" dirty="0" err="1" smtClean="0">
                  <a:solidFill>
                    <a:schemeClr val="bg1"/>
                  </a:solidFill>
                </a:rPr>
                <a:t>GoogleNew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24062" y="1449118"/>
              <a:ext cx="15776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u="sng" dirty="0" smtClean="0"/>
                <a:t>Clean Token</a:t>
              </a:r>
              <a:endParaRPr lang="en-US" u="sng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943018" y="1462137"/>
              <a:ext cx="1556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u="sng" dirty="0" smtClean="0"/>
                <a:t>Word Vector</a:t>
              </a:r>
              <a:endParaRPr lang="en-US" u="sng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9934301" y="1444651"/>
              <a:ext cx="21387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u="sng" dirty="0" smtClean="0"/>
                <a:t>Tweet Rep Vector</a:t>
              </a:r>
              <a:endParaRPr lang="en-US" u="sng" dirty="0"/>
            </a:p>
          </p:txBody>
        </p:sp>
      </p:grpSp>
    </p:spTree>
    <p:extLst>
      <p:ext uri="{BB962C8B-B14F-4D97-AF65-F5344CB8AC3E}">
        <p14:creationId xmlns:p14="http://schemas.microsoft.com/office/powerpoint/2010/main" val="334348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Classification Modeling using “Sentiment” Analysi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odeling</a:t>
            </a:r>
            <a:r>
              <a:rPr lang="en-US" dirty="0" smtClean="0"/>
              <a:t>: NLP Classification Step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46099" y="1409700"/>
            <a:ext cx="1108818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Ration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aling with an unsupervised learning problem since no true target variable for </a:t>
            </a:r>
            <a:r>
              <a:rPr lang="en-US" dirty="0" smtClean="0"/>
              <a:t>class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evertheless, need to assign classes to each tw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b="1" u="sng" dirty="0" smtClean="0"/>
              <a:t>General Idea</a:t>
            </a:r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cosine similarity on representative vectors (a sentiment analysis based approach</a:t>
            </a:r>
            <a:r>
              <a:rPr lang="en-US" dirty="0" smtClean="0"/>
              <a:t>)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or each tweet,</a:t>
            </a:r>
          </a:p>
          <a:p>
            <a:pPr marL="799827" lvl="1" indent="-342900">
              <a:buFont typeface="+mj-lt"/>
              <a:buAutoNum type="arabicPeriod"/>
            </a:pPr>
            <a:r>
              <a:rPr lang="en-US" dirty="0" smtClean="0"/>
              <a:t>Compute cosine similarity between </a:t>
            </a:r>
            <a:r>
              <a:rPr lang="en-US" b="1" dirty="0" smtClean="0"/>
              <a:t>tweet rep vector </a:t>
            </a:r>
            <a:r>
              <a:rPr lang="en-US" dirty="0" smtClean="0"/>
              <a:t>vs. </a:t>
            </a:r>
            <a:r>
              <a:rPr lang="en-US" b="1" dirty="0" smtClean="0">
                <a:solidFill>
                  <a:srgbClr val="FF0000"/>
                </a:solidFill>
              </a:rPr>
              <a:t>serious rep vector</a:t>
            </a:r>
            <a:r>
              <a:rPr lang="en-US" dirty="0" smtClean="0"/>
              <a:t>.</a:t>
            </a:r>
          </a:p>
          <a:p>
            <a:pPr marL="799827" lvl="1" indent="-342900">
              <a:buFont typeface="+mj-lt"/>
              <a:buAutoNum type="arabicPeriod"/>
            </a:pPr>
            <a:r>
              <a:rPr lang="en-US" dirty="0" smtClean="0"/>
              <a:t>Compute </a:t>
            </a:r>
            <a:r>
              <a:rPr lang="en-US" dirty="0"/>
              <a:t>cosine similarity between </a:t>
            </a:r>
            <a:r>
              <a:rPr lang="en-US" b="1" dirty="0"/>
              <a:t>tweet rep vector </a:t>
            </a:r>
            <a:r>
              <a:rPr lang="en-US" dirty="0"/>
              <a:t>vs. </a:t>
            </a:r>
            <a:r>
              <a:rPr lang="en-US" b="1" dirty="0" smtClean="0">
                <a:solidFill>
                  <a:srgbClr val="0070C0"/>
                </a:solidFill>
              </a:rPr>
              <a:t>irrelevant </a:t>
            </a:r>
            <a:r>
              <a:rPr lang="en-US" b="1" dirty="0">
                <a:solidFill>
                  <a:srgbClr val="0070C0"/>
                </a:solidFill>
              </a:rPr>
              <a:t>rep vector</a:t>
            </a:r>
            <a:r>
              <a:rPr lang="en-US" dirty="0" smtClean="0"/>
              <a:t>.</a:t>
            </a:r>
          </a:p>
          <a:p>
            <a:pPr marL="799827" lvl="1" indent="-342900">
              <a:buFont typeface="+mj-lt"/>
              <a:buAutoNum type="arabicPeriod"/>
            </a:pPr>
            <a:r>
              <a:rPr lang="en-US" dirty="0" smtClean="0"/>
              <a:t>Classify tweet based on relative magnitude of cosine similarity:</a:t>
            </a:r>
          </a:p>
          <a:p>
            <a:pPr marL="1199601" lvl="2" indent="-285750">
              <a:buFont typeface="Wingdings" panose="05000000000000000000" pitchFamily="2" charset="2"/>
              <a:buChar char="Ø"/>
            </a:pPr>
            <a:r>
              <a:rPr lang="en-US" dirty="0" smtClean="0"/>
              <a:t>If cosine similarity to </a:t>
            </a:r>
            <a:r>
              <a:rPr lang="en-US" b="1" dirty="0">
                <a:solidFill>
                  <a:srgbClr val="FF0000"/>
                </a:solidFill>
              </a:rPr>
              <a:t>serious rep </a:t>
            </a:r>
            <a:r>
              <a:rPr lang="en-US" b="1" dirty="0" smtClean="0">
                <a:solidFill>
                  <a:srgbClr val="FF0000"/>
                </a:solidFill>
              </a:rPr>
              <a:t>vector</a:t>
            </a:r>
            <a:r>
              <a:rPr lang="en-US" b="1" dirty="0" smtClean="0"/>
              <a:t> </a:t>
            </a:r>
            <a:r>
              <a:rPr lang="en-US" dirty="0" smtClean="0"/>
              <a:t>is higher, then assign </a:t>
            </a:r>
            <a:r>
              <a:rPr lang="en-US" dirty="0" err="1" smtClean="0">
                <a:solidFill>
                  <a:srgbClr val="FF0000"/>
                </a:solidFill>
              </a:rPr>
              <a:t>serious_blackout</a:t>
            </a:r>
            <a:r>
              <a:rPr lang="en-US" dirty="0" smtClean="0">
                <a:solidFill>
                  <a:srgbClr val="FF0000"/>
                </a:solidFill>
              </a:rPr>
              <a:t>=1</a:t>
            </a:r>
            <a:endParaRPr lang="en-US" dirty="0">
              <a:solidFill>
                <a:srgbClr val="FF0000"/>
              </a:solidFill>
            </a:endParaRPr>
          </a:p>
          <a:p>
            <a:pPr marL="1199601" lvl="2" indent="-285750">
              <a:buFont typeface="Wingdings" panose="05000000000000000000" pitchFamily="2" charset="2"/>
              <a:buChar char="Ø"/>
            </a:pPr>
            <a:r>
              <a:rPr lang="en-US" dirty="0"/>
              <a:t>If cosine similarity to </a:t>
            </a:r>
            <a:r>
              <a:rPr lang="en-US" b="1" dirty="0" smtClean="0">
                <a:solidFill>
                  <a:srgbClr val="0070C0"/>
                </a:solidFill>
              </a:rPr>
              <a:t>irrelevant rep </a:t>
            </a:r>
            <a:r>
              <a:rPr lang="en-US" b="1" dirty="0">
                <a:solidFill>
                  <a:srgbClr val="0070C0"/>
                </a:solidFill>
              </a:rPr>
              <a:t>vector</a:t>
            </a:r>
            <a:r>
              <a:rPr lang="en-US" b="1" dirty="0"/>
              <a:t> </a:t>
            </a:r>
            <a:r>
              <a:rPr lang="en-US" dirty="0"/>
              <a:t>is higher, then assign </a:t>
            </a:r>
            <a:r>
              <a:rPr lang="en-US" dirty="0" err="1" smtClean="0">
                <a:solidFill>
                  <a:srgbClr val="0070C0"/>
                </a:solidFill>
              </a:rPr>
              <a:t>serious_blackout</a:t>
            </a:r>
            <a:r>
              <a:rPr lang="en-US" dirty="0" smtClean="0">
                <a:solidFill>
                  <a:srgbClr val="0070C0"/>
                </a:solidFill>
              </a:rPr>
              <a:t>=0</a:t>
            </a:r>
            <a:endParaRPr lang="en-US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n combine with (latitude, longitude) data to visualize </a:t>
            </a:r>
            <a:r>
              <a:rPr lang="en-US" dirty="0" smtClean="0"/>
              <a:t>hotspot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934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19326"/>
            <a:ext cx="10515600" cy="532433"/>
          </a:xfrm>
        </p:spPr>
        <p:txBody>
          <a:bodyPr/>
          <a:lstStyle/>
          <a:p>
            <a:r>
              <a:rPr lang="en-US" sz="2200" dirty="0" err="1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Bokeh</a:t>
            </a:r>
            <a:r>
              <a:rPr lang="en-US" sz="2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Hotspot Map of </a:t>
            </a:r>
            <a:r>
              <a:rPr lang="en-US" sz="2200" dirty="0">
                <a:ea typeface="Tahoma" panose="020B0604030504040204" pitchFamily="34" charset="0"/>
                <a:cs typeface="Tahoma" panose="020B0604030504040204" pitchFamily="34" charset="0"/>
              </a:rPr>
              <a:t>New England </a:t>
            </a:r>
            <a:r>
              <a:rPr lang="en-US" sz="22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weet Outages by Category (City Basis)</a:t>
            </a:r>
            <a:endParaRPr lang="en-US" sz="22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6126480" y="1675433"/>
            <a:ext cx="5409737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514350" indent="-5143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/>
            <a:r>
              <a:rPr lang="en-US" dirty="0" smtClean="0"/>
              <a:t>                                                     .</a:t>
            </a:r>
          </a:p>
          <a:p>
            <a:pPr lvl="5" fontAlgn="base"/>
            <a:r>
              <a:rPr lang="en-US" dirty="0" smtClean="0"/>
              <a:t>.</a:t>
            </a:r>
          </a:p>
          <a:p>
            <a:pPr lvl="5" fontAlgn="base"/>
            <a:r>
              <a:rPr lang="en-US" dirty="0" smtClean="0"/>
              <a:t>.</a:t>
            </a:r>
          </a:p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/>
          </a:p>
        </p:txBody>
      </p:sp>
      <p:pic>
        <p:nvPicPr>
          <p:cNvPr id="11266" name="Picture 2" descr="https://raw.git.generalassemb.ly/boom-deva/project-4-FEMA-power-outages/master/presentation_graphics/bokeh_outage_CITY-MAP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760" y="1356914"/>
            <a:ext cx="4998720" cy="496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6100" y="359232"/>
            <a:ext cx="10515600" cy="391885"/>
          </a:xfrm>
        </p:spPr>
        <p:txBody>
          <a:bodyPr/>
          <a:lstStyle/>
          <a:p>
            <a:r>
              <a:rPr lang="en-US" sz="1800" u="sng" dirty="0" smtClean="0"/>
              <a:t>Results</a:t>
            </a:r>
            <a:r>
              <a:rPr lang="en-US" sz="1800" dirty="0" smtClean="0"/>
              <a:t>: Visualization</a:t>
            </a:r>
            <a:endParaRPr lang="en-US" sz="1800" dirty="0"/>
          </a:p>
        </p:txBody>
      </p:sp>
      <p:pic>
        <p:nvPicPr>
          <p:cNvPr id="8194" name="Picture 2" descr="D:\one piece\aasdfasdf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999"/>
          <a:stretch/>
        </p:blipFill>
        <p:spPr bwMode="auto">
          <a:xfrm>
            <a:off x="6985274" y="2752926"/>
            <a:ext cx="3590577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9974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0288"/>
            <a:ext cx="10515600" cy="471472"/>
          </a:xfrm>
        </p:spPr>
        <p:txBody>
          <a:bodyPr/>
          <a:lstStyle/>
          <a:p>
            <a:r>
              <a:rPr lang="en-US" dirty="0" err="1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Bokeh</a:t>
            </a:r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Heat Map </a:t>
            </a:r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f New England </a:t>
            </a:r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</a:t>
            </a:r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wer </a:t>
            </a:r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</a:t>
            </a:r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utages (County Basis)</a:t>
            </a:r>
            <a:endParaRPr lang="en-US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-2867219" y="5324547"/>
            <a:ext cx="11204448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514350" indent="-5143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514350" indent="-5143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/>
          </a:p>
        </p:txBody>
      </p:sp>
      <p:pic>
        <p:nvPicPr>
          <p:cNvPr id="10242" name="Picture 2" descr="https://raw.git.generalassemb.ly/boom-deva/project-4-FEMA-power-outages/master/presentation_graphics/bokeh_outage_COUNTY-MAP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925" y="1392627"/>
            <a:ext cx="4974331" cy="4662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6100" y="359232"/>
            <a:ext cx="10515600" cy="391885"/>
          </a:xfrm>
        </p:spPr>
        <p:txBody>
          <a:bodyPr/>
          <a:lstStyle/>
          <a:p>
            <a:r>
              <a:rPr lang="en-US" sz="1800" u="sng" dirty="0" smtClean="0"/>
              <a:t>Results</a:t>
            </a:r>
            <a:r>
              <a:rPr lang="en-US" sz="1800" dirty="0" smtClean="0"/>
              <a:t>: Visualization</a:t>
            </a:r>
            <a:endParaRPr lang="en-US" sz="1800" dirty="0"/>
          </a:p>
        </p:txBody>
      </p:sp>
      <p:grpSp>
        <p:nvGrpSpPr>
          <p:cNvPr id="8" name="Group 7"/>
          <p:cNvGrpSpPr/>
          <p:nvPr/>
        </p:nvGrpSpPr>
        <p:grpSpPr>
          <a:xfrm>
            <a:off x="6383697" y="4511673"/>
            <a:ext cx="4791456" cy="1297975"/>
            <a:chOff x="6383697" y="4511673"/>
            <a:chExt cx="4791456" cy="1297975"/>
          </a:xfrm>
        </p:grpSpPr>
        <p:sp>
          <p:nvSpPr>
            <p:cNvPr id="7" name="Rectangle 6"/>
            <p:cNvSpPr/>
            <p:nvPr/>
          </p:nvSpPr>
          <p:spPr>
            <a:xfrm>
              <a:off x="6383697" y="4511673"/>
              <a:ext cx="4791456" cy="6694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lnSpc>
                  <a:spcPct val="150000"/>
                </a:lnSpc>
              </a:pPr>
              <a:r>
                <a:rPr lang="en-US" sz="1400" b="1" u="sng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requency Color Key</a:t>
              </a:r>
              <a:endParaRPr lang="en-US" sz="14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fontAlgn="base">
                <a:lnSpc>
                  <a:spcPct val="150000"/>
                </a:lnSpc>
              </a:pPr>
              <a:r>
                <a:rPr lang="en-US" sz="1100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US" sz="1050" b="1" dirty="0">
                  <a:ea typeface="Tahoma" panose="020B0604030504040204" pitchFamily="34" charset="0"/>
                  <a:cs typeface="Tahoma" panose="020B0604030504040204" pitchFamily="34" charset="0"/>
                </a:rPr>
                <a:t>0</a:t>
              </a:r>
              <a:r>
                <a:rPr lang="en-US" sz="1050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             </a:t>
              </a:r>
              <a:r>
                <a:rPr lang="en-US" sz="1050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    </a:t>
              </a:r>
              <a:r>
                <a:rPr lang="en-US" sz="1050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1                2                </a:t>
              </a:r>
              <a:r>
                <a:rPr lang="en-US" sz="1050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  5                  8               17                25</a:t>
              </a:r>
              <a:endParaRPr lang="en-US" sz="5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6505574" y="5178028"/>
              <a:ext cx="4289455" cy="631620"/>
              <a:chOff x="6483858" y="2878835"/>
              <a:chExt cx="4289455" cy="978407"/>
            </a:xfrm>
          </p:grpSpPr>
          <p:pic>
            <p:nvPicPr>
              <p:cNvPr id="10243" name="Picture 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17664" y="2878836"/>
                <a:ext cx="712089" cy="9494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44" name="Picture 4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83858" y="2878835"/>
                <a:ext cx="733806" cy="9784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45" name="Picture 5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29753" y="2878836"/>
                <a:ext cx="712088" cy="9494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46" name="Picture 6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37047" y="2878836"/>
                <a:ext cx="712089" cy="9494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47" name="Picture 7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49136" y="2878836"/>
                <a:ext cx="712089" cy="9494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48" name="Picture 8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61224" y="2878836"/>
                <a:ext cx="712089" cy="9494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9218" name="Picture 2" descr="D:\one piece\aaasdfasdfads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380" y="2167920"/>
            <a:ext cx="2438400" cy="183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9856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Wrapping-Up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Key </a:t>
            </a:r>
            <a:r>
              <a:rPr lang="en-US" dirty="0" smtClean="0"/>
              <a:t>Takeaways and Further Enqui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30260" y="1415623"/>
            <a:ext cx="10857172" cy="459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 smtClean="0">
                <a:ea typeface="Tahoma" panose="020B0604030504040204" pitchFamily="34" charset="0"/>
                <a:cs typeface="Tahoma" panose="020B0604030504040204" pitchFamily="34" charset="0"/>
              </a:rPr>
              <a:t>Class representative </a:t>
            </a:r>
            <a:r>
              <a:rPr lang="en-US" sz="1500" dirty="0">
                <a:ea typeface="Tahoma" panose="020B0604030504040204" pitchFamily="34" charset="0"/>
                <a:cs typeface="Tahoma" panose="020B0604030504040204" pitchFamily="34" charset="0"/>
              </a:rPr>
              <a:t>vectors for serious vs. irrelevant had cosine similarity of 0.3</a:t>
            </a:r>
          </a:p>
          <a:p>
            <a:pPr marL="799827" lvl="1" indent="-342900" fontAlgn="base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500" u="sng" dirty="0" smtClean="0">
                <a:ea typeface="Tahoma" panose="020B0604030504040204" pitchFamily="34" charset="0"/>
                <a:cs typeface="Tahoma" panose="020B0604030504040204" pitchFamily="34" charset="0"/>
              </a:rPr>
              <a:t>Implication</a:t>
            </a:r>
            <a:r>
              <a:rPr lang="en-US" sz="1500" dirty="0" smtClean="0"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500" dirty="0">
                <a:ea typeface="Tahoma" panose="020B0604030504040204" pitchFamily="34" charset="0"/>
                <a:cs typeface="Tahoma" panose="020B0604030504040204" pitchFamily="34" charset="0"/>
              </a:rPr>
              <a:t>Somewhat unrelated, but not necessarily </a:t>
            </a:r>
            <a:r>
              <a:rPr lang="en-US" sz="1500" dirty="0" smtClean="0">
                <a:ea typeface="Tahoma" panose="020B0604030504040204" pitchFamily="34" charset="0"/>
                <a:cs typeface="Tahoma" panose="020B0604030504040204" pitchFamily="34" charset="0"/>
              </a:rPr>
              <a:t>perfectly orthogonal</a:t>
            </a:r>
            <a:r>
              <a:rPr lang="en-US" sz="1500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799827" lvl="1" indent="-342900" fontAlgn="base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500" dirty="0">
                <a:ea typeface="Tahoma" panose="020B0604030504040204" pitchFamily="34" charset="0"/>
                <a:cs typeface="Tahoma" panose="020B0604030504040204" pitchFamily="34" charset="0"/>
              </a:rPr>
              <a:t>Refine class corpora to reduce cosine similarity of </a:t>
            </a:r>
            <a:r>
              <a:rPr lang="en-US" sz="1500" b="1" u="sng" dirty="0">
                <a:ea typeface="Tahoma" panose="020B0604030504040204" pitchFamily="34" charset="0"/>
                <a:cs typeface="Tahoma" panose="020B0604030504040204" pitchFamily="34" charset="0"/>
              </a:rPr>
              <a:t>serious blackout</a:t>
            </a:r>
            <a:r>
              <a:rPr lang="en-US" sz="1500" dirty="0">
                <a:ea typeface="Tahoma" panose="020B0604030504040204" pitchFamily="34" charset="0"/>
                <a:cs typeface="Tahoma" panose="020B0604030504040204" pitchFamily="34" charset="0"/>
              </a:rPr>
              <a:t> vs </a:t>
            </a:r>
            <a:r>
              <a:rPr lang="en-US" sz="1500" b="1" u="sng" dirty="0">
                <a:ea typeface="Tahoma" panose="020B0604030504040204" pitchFamily="34" charset="0"/>
                <a:cs typeface="Tahoma" panose="020B0604030504040204" pitchFamily="34" charset="0"/>
              </a:rPr>
              <a:t>irrelevant</a:t>
            </a:r>
            <a:endParaRPr lang="en-US" sz="1500" b="1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500" dirty="0" smtClean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While this is a </a:t>
            </a:r>
            <a:r>
              <a:rPr lang="en-US" sz="1500" b="1" u="sng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roof of concept </a:t>
            </a: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model on </a:t>
            </a:r>
            <a:r>
              <a:rPr lang="en-US" sz="1500" i="1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historical </a:t>
            </a: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ata, results are realistic.</a:t>
            </a:r>
          </a:p>
          <a:p>
            <a:pPr marL="799827" lvl="1" indent="-342900" fontAlgn="base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500" u="sng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deal Final Product</a:t>
            </a: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: Tool utilizing Twitter’s live API stream</a:t>
            </a:r>
          </a:p>
          <a:p>
            <a:pPr marL="799827" lvl="1" indent="-342900" fontAlgn="base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500" u="sng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equirements from Client</a:t>
            </a: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: paid subscription to Twitter’s API</a:t>
            </a:r>
            <a:endParaRPr lang="en-US" sz="1500" dirty="0" smtClean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500" dirty="0" smtClean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ackled as unsupervised learning problem due to absence of true classifications to train on.</a:t>
            </a:r>
            <a:endParaRPr lang="en-US" sz="1500" dirty="0" smtClean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99827" lvl="1" indent="-342900" fontAlgn="base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500" u="sng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lternative Route</a:t>
            </a: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: S</a:t>
            </a:r>
            <a:r>
              <a:rPr lang="en-US" sz="1500" b="1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upervised learning problem </a:t>
            </a:r>
            <a:endParaRPr lang="en-US" sz="1500" dirty="0" smtClean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99827" lvl="1" indent="-342900" fontAlgn="base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500" u="sng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equirements from Client</a:t>
            </a: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ata entry to manually categorize a sample of tweets and provide us that data</a:t>
            </a:r>
          </a:p>
          <a:p>
            <a:pPr marL="799827" lvl="1" indent="-342900" fontAlgn="base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500" b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nfer locations by including list of cities/neighborhoods in query search terms.</a:t>
            </a:r>
            <a:endParaRPr lang="en-US" sz="15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361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The Problem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How to leverage user social media updates using NLP techniques to identify power outage hotspot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12140" y="1455897"/>
            <a:ext cx="1118105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b="1" u="sng" dirty="0" smtClean="0"/>
          </a:p>
          <a:p>
            <a:r>
              <a:rPr lang="en-US" b="1" u="sng" dirty="0" smtClean="0"/>
              <a:t>V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uring disasters, residential areas experience power outages which can last for d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mergency response agencies need a timely and accurate way to respond to the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b="1" u="sng" dirty="0"/>
          </a:p>
          <a:p>
            <a:r>
              <a:rPr lang="en-US" b="1" u="sng" dirty="0" smtClean="0"/>
              <a:t>Issue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raditional methods: live feeds from utility companies, satellite data of light emi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owever, extremely expensive and difficult to maintain</a:t>
            </a:r>
          </a:p>
          <a:p>
            <a:endParaRPr lang="en-US" u="sng" dirty="0" smtClean="0"/>
          </a:p>
          <a:p>
            <a:endParaRPr lang="en-US" u="sng" dirty="0" smtClean="0"/>
          </a:p>
          <a:p>
            <a:r>
              <a:rPr lang="en-US" b="1" u="sng" dirty="0" smtClean="0"/>
              <a:t>Proposition</a:t>
            </a:r>
            <a:endParaRPr lang="en-US" u="sng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bserved generation’s ever growing dependence on social media over the past deca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ore cost-efficient path to purs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ing NLP tools, possible to leverage social media updates to identify power outage hotspo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57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The Problem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How to leverage user social media updates using NLP techniques to identify power outage hotspot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12140" y="1455897"/>
            <a:ext cx="1118105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The Approach</a:t>
            </a:r>
          </a:p>
          <a:p>
            <a:endParaRPr lang="en-US" b="1" u="sng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Social Media Platform Focus:	</a:t>
            </a:r>
            <a:r>
              <a:rPr lang="en-US" dirty="0" smtClean="0"/>
              <a:t>Twi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Data Collection:		</a:t>
            </a:r>
            <a:r>
              <a:rPr lang="en-US" dirty="0" err="1" smtClean="0"/>
              <a:t>Webscrape</a:t>
            </a:r>
            <a:r>
              <a:rPr lang="en-US" dirty="0" smtClean="0"/>
              <a:t> Tweets using Twitter API; </a:t>
            </a:r>
            <a:r>
              <a:rPr lang="en-US" dirty="0" smtClean="0"/>
              <a:t>city/county </a:t>
            </a:r>
            <a:r>
              <a:rPr lang="en-US" dirty="0" err="1" smtClean="0"/>
              <a:t>geodata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Data Cleaning:</a:t>
            </a:r>
            <a:r>
              <a:rPr lang="en-US" dirty="0" smtClean="0"/>
              <a:t>		Filter out irrelevant fields; addressing missing 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Exploratory Data Analysis:	</a:t>
            </a:r>
            <a:r>
              <a:rPr lang="en-US" dirty="0" smtClean="0"/>
              <a:t>Search for ways to help systematic construction of bag of words</a:t>
            </a:r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Preprocessing</a:t>
            </a:r>
            <a:r>
              <a:rPr lang="en-US" dirty="0" smtClean="0"/>
              <a:t>:		</a:t>
            </a:r>
            <a:r>
              <a:rPr lang="en-US" dirty="0" smtClean="0"/>
              <a:t>Bag-of-Words construction</a:t>
            </a:r>
            <a:r>
              <a:rPr lang="en-US" dirty="0" smtClean="0"/>
              <a:t>, Tokenization, Vector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Classification Models</a:t>
            </a:r>
            <a:r>
              <a:rPr lang="en-US" dirty="0" smtClean="0"/>
              <a:t>: 	</a:t>
            </a:r>
            <a:r>
              <a:rPr lang="en-US" dirty="0" smtClean="0"/>
              <a:t>Word2Vec “sentiment”-style </a:t>
            </a:r>
            <a:r>
              <a:rPr lang="en-US" dirty="0"/>
              <a:t>a</a:t>
            </a:r>
            <a:r>
              <a:rPr lang="en-US" dirty="0" smtClean="0"/>
              <a:t>nalysis</a:t>
            </a:r>
            <a:endParaRPr lang="en-US" i="1" dirty="0" smtClean="0"/>
          </a:p>
        </p:txBody>
      </p:sp>
    </p:spTree>
    <p:extLst>
      <p:ext uri="{BB962C8B-B14F-4D97-AF65-F5344CB8AC3E}">
        <p14:creationId xmlns:p14="http://schemas.microsoft.com/office/powerpoint/2010/main" val="2470622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92480"/>
            <a:ext cx="10515600" cy="459280"/>
          </a:xfrm>
        </p:spPr>
        <p:txBody>
          <a:bodyPr/>
          <a:lstStyle/>
          <a:p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etermine which local areas to cov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524256" y="1392627"/>
            <a:ext cx="11204448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marL="514350" indent="-5143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 smtClean="0"/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24256" y="1490163"/>
            <a:ext cx="11204448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ich </a:t>
            </a: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ighborhoods/area to identify?</a:t>
            </a:r>
          </a:p>
          <a:p>
            <a:pPr marL="285750" indent="-2857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w England: 6 East Coast 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tes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MA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ME, VT, NH, CT, RI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endParaRPr lang="en-US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2" descr="https://simplemaps.com/static/img/data/world-cities/censu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628" y="2338869"/>
            <a:ext cx="1929473" cy="1447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s://simplemaps.com/static/img/data/world-cities/usg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7355" y="2711091"/>
            <a:ext cx="1523756" cy="561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Chris\Desktop\Captur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296" y="2656744"/>
            <a:ext cx="2082486" cy="509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:\Users\Chris\Desktop\aaaaaaaa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160" y="1246870"/>
            <a:ext cx="3339882" cy="4743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6100" y="359232"/>
            <a:ext cx="10515600" cy="391885"/>
          </a:xfrm>
        </p:spPr>
        <p:txBody>
          <a:bodyPr/>
          <a:lstStyle/>
          <a:p>
            <a:r>
              <a:rPr lang="en-US" sz="1800" u="sng" dirty="0" smtClean="0"/>
              <a:t>Methodology</a:t>
            </a:r>
            <a:r>
              <a:rPr lang="en-US" sz="1800" dirty="0" smtClean="0"/>
              <a:t>: </a:t>
            </a:r>
            <a:r>
              <a:rPr lang="en-US" sz="1800" dirty="0" smtClean="0"/>
              <a:t>Data Collection</a:t>
            </a:r>
            <a:endParaRPr lang="en-US" sz="1800" dirty="0"/>
          </a:p>
        </p:txBody>
      </p:sp>
      <p:sp>
        <p:nvSpPr>
          <p:cNvPr id="12" name="TextBox 11"/>
          <p:cNvSpPr txBox="1"/>
          <p:nvPr/>
        </p:nvSpPr>
        <p:spPr>
          <a:xfrm>
            <a:off x="524256" y="2611506"/>
            <a:ext cx="731852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b="1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ity/County Data Set</a:t>
            </a:r>
            <a:endParaRPr lang="en-US" b="1" u="sng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endParaRPr lang="en-US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does this city/county data include?</a:t>
            </a:r>
          </a:p>
          <a:p>
            <a:pPr marL="285750" indent="-285750" fontAlgn="base">
              <a:lnSpc>
                <a:spcPct val="150000"/>
              </a:lnSpc>
              <a:buFontTx/>
              <a:buChar char="-"/>
            </a:pP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te                                               </a:t>
            </a: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- ID</a:t>
            </a:r>
            <a:endParaRPr lang="en-US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lnSpc>
                <a:spcPct val="150000"/>
              </a:lnSpc>
              <a:buFontTx/>
              <a:buChar char="-"/>
            </a:pP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ity                                                  </a:t>
            </a: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- </a:t>
            </a: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ip code</a:t>
            </a:r>
          </a:p>
          <a:p>
            <a:pPr marL="285750" indent="-285750" fontAlgn="base">
              <a:lnSpc>
                <a:spcPct val="150000"/>
              </a:lnSpc>
              <a:buFontTx/>
              <a:buChar char="-"/>
            </a:pP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unty                                             </a:t>
            </a: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- </a:t>
            </a: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pulation</a:t>
            </a:r>
          </a:p>
          <a:p>
            <a:pPr marL="285750" indent="-285750" fontAlgn="base">
              <a:lnSpc>
                <a:spcPct val="150000"/>
              </a:lnSpc>
              <a:buFontTx/>
              <a:buChar char="-"/>
            </a:pP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itude and Longitude </a:t>
            </a: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city center)  - </a:t>
            </a: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nsity</a:t>
            </a:r>
          </a:p>
          <a:p>
            <a:pPr marL="285750" indent="-285750" fontAlgn="base">
              <a:lnSpc>
                <a:spcPct val="150000"/>
              </a:lnSpc>
              <a:buFontTx/>
              <a:buChar char="-"/>
            </a:pP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me Zone</a:t>
            </a:r>
            <a:endParaRPr lang="en-US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034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55904"/>
            <a:ext cx="10515600" cy="495856"/>
          </a:xfrm>
        </p:spPr>
        <p:txBody>
          <a:bodyPr/>
          <a:lstStyle/>
          <a:p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etermining social media options and scraping options</a:t>
            </a:r>
            <a:endParaRPr lang="en-US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524256" y="1358790"/>
            <a:ext cx="11204448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sz="2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cial </a:t>
            </a:r>
            <a:r>
              <a:rPr lang="en-US" sz="2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a Options</a:t>
            </a:r>
            <a:endParaRPr lang="en-US" sz="28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endParaRPr lang="en-US" sz="2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endParaRPr lang="en-US" sz="2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endParaRPr lang="en-US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r>
              <a:rPr lang="en-US" sz="2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witter </a:t>
            </a:r>
            <a:r>
              <a:rPr lang="en-US" sz="2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raping </a:t>
            </a:r>
            <a:r>
              <a:rPr lang="en-US" sz="2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</a:t>
            </a:r>
            <a:r>
              <a:rPr lang="en-US" sz="28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tions</a:t>
            </a:r>
            <a:endParaRPr lang="en-US" sz="28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endParaRPr lang="en-US" sz="28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endParaRPr lang="en-US" sz="2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endParaRPr lang="en-US" dirty="0"/>
          </a:p>
          <a:p>
            <a:pPr fontAlgn="base">
              <a:lnSpc>
                <a:spcPct val="150000"/>
              </a:lnSpc>
            </a:pP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433347"/>
              </p:ext>
            </p:extLst>
          </p:nvPr>
        </p:nvGraphicFramePr>
        <p:xfrm>
          <a:off x="1682496" y="2192838"/>
          <a:ext cx="8205216" cy="1125050"/>
        </p:xfrm>
        <a:graphic>
          <a:graphicData uri="http://schemas.openxmlformats.org/drawingml/2006/table">
            <a:tbl>
              <a:tblPr firstRow="1" firstCol="1" bandRow="1">
                <a:tableStyleId>{5A111915-BE36-4E01-A7E5-04B1672EAD32}</a:tableStyleId>
              </a:tblPr>
              <a:tblGrid>
                <a:gridCol w="4108704"/>
                <a:gridCol w="4096512"/>
              </a:tblGrid>
              <a:tr h="38337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Facebook</a:t>
                      </a:r>
                      <a:endParaRPr lang="en-US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Twitter</a:t>
                      </a:r>
                      <a:endParaRPr lang="en-US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/>
                        <a:t>difficult to navigate API</a:t>
                      </a:r>
                      <a:endParaRPr lang="en-US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easy</a:t>
                      </a:r>
                      <a:r>
                        <a:rPr lang="en-US" b="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to navigate API</a:t>
                      </a:r>
                      <a:endParaRPr lang="en-US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 smtClean="0"/>
                        <a:t>high restriction to</a:t>
                      </a:r>
                      <a:r>
                        <a:rPr lang="en-US" b="0" baseline="0" dirty="0" smtClean="0"/>
                        <a:t> access API</a:t>
                      </a:r>
                      <a:endParaRPr lang="en-US" b="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/>
                        <a:t>easier to get a permission</a:t>
                      </a:r>
                      <a:r>
                        <a:rPr lang="en-US" b="0" baseline="0" dirty="0" smtClean="0"/>
                        <a:t> using API</a:t>
                      </a:r>
                      <a:endParaRPr lang="en-US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>
          <a:xfrm>
            <a:off x="5644896" y="2231136"/>
            <a:ext cx="4218432" cy="1193782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2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8075088"/>
              </p:ext>
            </p:extLst>
          </p:nvPr>
        </p:nvGraphicFramePr>
        <p:xfrm>
          <a:off x="524256" y="4450080"/>
          <a:ext cx="11119104" cy="1440426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312156"/>
                <a:gridCol w="4515620"/>
                <a:gridCol w="5291328"/>
              </a:tblGrid>
              <a:tr h="363360"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err="1" smtClean="0">
                          <a:solidFill>
                            <a:srgbClr val="000000"/>
                          </a:solidFill>
                        </a:rPr>
                        <a:t>TwitterScraper</a:t>
                      </a:r>
                      <a:r>
                        <a:rPr lang="en-US" b="1" dirty="0" smtClean="0">
                          <a:solidFill>
                            <a:srgbClr val="000000"/>
                          </a:solidFill>
                        </a:rPr>
                        <a:t> Package</a:t>
                      </a:r>
                      <a:endParaRPr lang="en-US" b="1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rgbClr val="000000"/>
                          </a:solidFill>
                        </a:rPr>
                        <a:t>Twitter </a:t>
                      </a:r>
                      <a:r>
                        <a:rPr lang="en-US" b="1" dirty="0" smtClean="0">
                          <a:solidFill>
                            <a:srgbClr val="000000"/>
                          </a:solidFill>
                        </a:rPr>
                        <a:t>Search API</a:t>
                      </a:r>
                      <a:endParaRPr lang="en-US" b="1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</a:tr>
              <a:tr h="434586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rgbClr val="000000"/>
                          </a:solidFill>
                        </a:rPr>
                        <a:t>Pros</a:t>
                      </a:r>
                      <a:endParaRPr lang="en-US" b="1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Can </a:t>
                      </a:r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scrape historical data</a:t>
                      </a:r>
                      <a:endParaRPr lang="en-US" b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Geographical </a:t>
                      </a:r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data (but</a:t>
                      </a:r>
                      <a:r>
                        <a:rPr lang="en-US" b="0" baseline="0" dirty="0" smtClean="0">
                          <a:solidFill>
                            <a:srgbClr val="000000"/>
                          </a:solidFill>
                        </a:rPr>
                        <a:t> very limited)</a:t>
                      </a:r>
                      <a:endParaRPr lang="en-US" b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solidFill>
                            <a:srgbClr val="000000"/>
                          </a:solidFill>
                        </a:rPr>
                        <a:t>Cons</a:t>
                      </a:r>
                      <a:endParaRPr lang="en-US" b="1" dirty="0" smtClean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smtClean="0">
                          <a:solidFill>
                            <a:srgbClr val="000000"/>
                          </a:solidFill>
                        </a:rPr>
                        <a:t>No geographical </a:t>
                      </a:r>
                      <a:r>
                        <a:rPr lang="en-US" sz="1800" b="0" kern="1200" baseline="0" dirty="0" smtClean="0">
                          <a:solidFill>
                            <a:srgbClr val="000000"/>
                          </a:solidFill>
                        </a:rPr>
                        <a:t>data</a:t>
                      </a:r>
                      <a:endParaRPr lang="en-US" sz="1800" b="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baseline="0" dirty="0" smtClean="0">
                          <a:solidFill>
                            <a:srgbClr val="000000"/>
                          </a:solidFill>
                        </a:rPr>
                        <a:t>API has limits of tweets scraping</a:t>
                      </a:r>
                    </a:p>
                    <a:p>
                      <a:pPr marL="0" marR="0" indent="0" algn="ctr" defTabSz="9143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gives only the most recent 7 days data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Rounded Rectangle 12"/>
          <p:cNvSpPr/>
          <p:nvPr/>
        </p:nvSpPr>
        <p:spPr>
          <a:xfrm>
            <a:off x="1871472" y="4486038"/>
            <a:ext cx="4431792" cy="1364156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2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46100" y="359232"/>
            <a:ext cx="10515600" cy="391885"/>
          </a:xfrm>
        </p:spPr>
        <p:txBody>
          <a:bodyPr/>
          <a:lstStyle/>
          <a:p>
            <a:r>
              <a:rPr lang="en-US" sz="1800" u="sng" dirty="0" smtClean="0"/>
              <a:t>Methodology</a:t>
            </a:r>
            <a:r>
              <a:rPr lang="en-US" sz="1800" dirty="0" smtClean="0"/>
              <a:t>: </a:t>
            </a:r>
            <a:r>
              <a:rPr lang="en-US" sz="1800" dirty="0" smtClean="0"/>
              <a:t>Data Collection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97212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40004" y="743712"/>
            <a:ext cx="10515600" cy="5019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0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73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2886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040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194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34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craping </a:t>
            </a:r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weets </a:t>
            </a:r>
            <a:r>
              <a:rPr lang="en-US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by </a:t>
            </a:r>
            <a:r>
              <a:rPr lang="en-US" dirty="0" err="1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witterScraper</a:t>
            </a:r>
            <a:endParaRPr lang="en-US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0004" y="1580326"/>
            <a:ext cx="11204448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blems Encountered </a:t>
            </a: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en-US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witterScraper</a:t>
            </a: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US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witter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cked us out of API partwa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 through data collection</a:t>
            </a:r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up 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- around 1000 tweets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 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 location</a:t>
            </a:r>
          </a:p>
          <a:p>
            <a:pPr marL="742677" lvl="1" indent="-285750" fontAlgn="base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karound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randomly 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sign the city location data to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up data!</a:t>
            </a:r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endParaRPr lang="en-US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lnSpc>
                <a:spcPct val="150000"/>
              </a:lnSpc>
            </a:pP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ck Up Data: </a:t>
            </a:r>
            <a:r>
              <a:rPr lang="en-US" dirty="0" err="1" smtClean="0">
                <a:solidFill>
                  <a:srgbClr val="FF0000"/>
                </a:solidFill>
                <a:latin typeface="Courier New" panose="02070309020205020404" pitchFamily="49" charset="0"/>
                <a:ea typeface="Tahoma" panose="020B0604030504040204" pitchFamily="34" charset="0"/>
                <a:cs typeface="Courier New" panose="02070309020205020404" pitchFamily="49" charset="0"/>
              </a:rPr>
              <a:t>query_tweets</a:t>
            </a: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arameters</a:t>
            </a:r>
            <a:endParaRPr lang="en-US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fontAlgn="base">
              <a:lnSpc>
                <a:spcPct val="150000"/>
              </a:lnSpc>
              <a:buFontTx/>
              <a:buChar char="-"/>
            </a:pPr>
            <a:r>
              <a:rPr lang="en-US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arch term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‘</a:t>
            </a:r>
            <a:r>
              <a:rPr lang="en-US" dirty="0" smtClean="0"/>
              <a:t>blackout’, ‘blackouts’, ‘outage’, ‘outages’, ‘power outage’</a:t>
            </a:r>
            <a:endParaRPr lang="en-US" dirty="0" smtClean="0"/>
          </a:p>
          <a:p>
            <a:pPr marL="342900" indent="-342900" fontAlgn="base">
              <a:lnSpc>
                <a:spcPct val="150000"/>
              </a:lnSpc>
              <a:buFontTx/>
              <a:buChar char="-"/>
            </a:pPr>
            <a:r>
              <a:rPr lang="en-US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iods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/01/2018 ~ 12/31/2018</a:t>
            </a:r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fontAlgn="base">
              <a:lnSpc>
                <a:spcPct val="150000"/>
              </a:lnSpc>
              <a:buFontTx/>
              <a:buChar char="-"/>
            </a:pPr>
            <a:endParaRPr lang="en-US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194" name="Picture 2" descr="C:\Users\Chris\Desktop\다운로드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6899" y="1824166"/>
            <a:ext cx="2169523" cy="1752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46100" y="359232"/>
            <a:ext cx="10515600" cy="391885"/>
          </a:xfrm>
        </p:spPr>
        <p:txBody>
          <a:bodyPr/>
          <a:lstStyle/>
          <a:p>
            <a:r>
              <a:rPr lang="en-US" sz="1800" u="sng" dirty="0" smtClean="0"/>
              <a:t>Methodology</a:t>
            </a:r>
            <a:r>
              <a:rPr lang="en-US" sz="1800" dirty="0" smtClean="0"/>
              <a:t>: </a:t>
            </a:r>
            <a:r>
              <a:rPr lang="en-US" sz="1800" dirty="0" smtClean="0"/>
              <a:t>Data Cleaning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0557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op Words in Outage Tweet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100" y="1767840"/>
            <a:ext cx="10882932" cy="368808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242060" y="5602668"/>
            <a:ext cx="100787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uge differential b/w frequency of query search terms and other terms as expected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“blackout</a:t>
            </a:r>
            <a:r>
              <a:rPr lang="en-US" dirty="0" smtClean="0"/>
              <a:t>” search term was not even in the top 3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521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Examining the Distribution of Top Words in Outage Tweet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</a:t>
            </a:r>
            <a:r>
              <a:rPr lang="en-US" dirty="0"/>
              <a:t>Data Analysi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08" y="1798320"/>
            <a:ext cx="11638434" cy="390144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42060" y="5602668"/>
            <a:ext cx="100787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 many informative terms to help differentiate between serious / actual electric blackouts vs. irrelevant blackou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“light</a:t>
            </a:r>
            <a:r>
              <a:rPr lang="en-US" dirty="0" smtClean="0"/>
              <a:t>” as potential serious blackout term; </a:t>
            </a:r>
            <a:r>
              <a:rPr lang="en-US" dirty="0" smtClean="0"/>
              <a:t>“</a:t>
            </a:r>
            <a:r>
              <a:rPr lang="en-US" dirty="0" err="1"/>
              <a:t>v</a:t>
            </a:r>
            <a:r>
              <a:rPr lang="en-US" dirty="0" err="1" smtClean="0"/>
              <a:t>icpower</a:t>
            </a:r>
            <a:r>
              <a:rPr lang="en-US" dirty="0" smtClean="0"/>
              <a:t>” as example of irrelevant ter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40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Methodology</a:t>
            </a:r>
            <a:r>
              <a:rPr lang="en-US" dirty="0" smtClean="0"/>
              <a:t>: Exploratory Data Analysi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dentifying Related </a:t>
            </a:r>
            <a:r>
              <a:rPr lang="en-US" dirty="0" smtClean="0"/>
              <a:t>Words: </a:t>
            </a:r>
            <a:r>
              <a:rPr lang="en-US" dirty="0" err="1" smtClean="0"/>
              <a:t>LexVec</a:t>
            </a:r>
            <a:r>
              <a:rPr lang="en-US" dirty="0" smtClean="0"/>
              <a:t> Word Embedding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46100" y="1478280"/>
            <a:ext cx="10515600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General Principle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art with bag of words from power outage terminology article:</a:t>
            </a:r>
          </a:p>
          <a:p>
            <a:endParaRPr lang="en-US" dirty="0" smtClean="0"/>
          </a:p>
          <a:p>
            <a:pPr algn="ctr"/>
            <a:r>
              <a:rPr lang="en-US" sz="1600" dirty="0">
                <a:solidFill>
                  <a:srgbClr val="C00000"/>
                </a:solidFill>
              </a:rPr>
              <a:t>'blackout</a:t>
            </a:r>
            <a:r>
              <a:rPr lang="en-US" sz="1600" dirty="0" smtClean="0">
                <a:solidFill>
                  <a:srgbClr val="C00000"/>
                </a:solidFill>
              </a:rPr>
              <a:t>', 'power', 'outage', 'electric', 'electricity', 'electrical', 'transformer‘, 'watt', 'wattage', 'arc</a:t>
            </a:r>
            <a:r>
              <a:rPr lang="en-US" sz="1600" dirty="0">
                <a:solidFill>
                  <a:srgbClr val="C00000"/>
                </a:solidFill>
              </a:rPr>
              <a:t>', </a:t>
            </a:r>
            <a:r>
              <a:rPr lang="en-US" sz="1600" dirty="0" smtClean="0">
                <a:solidFill>
                  <a:srgbClr val="C00000"/>
                </a:solidFill>
              </a:rPr>
              <a:t>'circuit', ‘breaker', 'cable', 'fault', 'conductor', 'fuse', 'riser', 'insulator', 'meter</a:t>
            </a:r>
            <a:r>
              <a:rPr lang="en-US" sz="1600" dirty="0">
                <a:solidFill>
                  <a:srgbClr val="C00000"/>
                </a:solidFill>
              </a:rPr>
              <a:t>', </a:t>
            </a:r>
            <a:r>
              <a:rPr lang="en-US" sz="1600" dirty="0" smtClean="0">
                <a:solidFill>
                  <a:srgbClr val="C00000"/>
                </a:solidFill>
              </a:rPr>
              <a:t> 'interruption', 'maintenance', 'relay', 'grid', 'severe', 'weather', 'storm', 'substation', 'surge', 'switch</a:t>
            </a:r>
            <a:r>
              <a:rPr lang="en-US" sz="1600" dirty="0">
                <a:solidFill>
                  <a:srgbClr val="C00000"/>
                </a:solidFill>
              </a:rPr>
              <a:t>', </a:t>
            </a:r>
            <a:r>
              <a:rPr lang="en-US" sz="1600" dirty="0" smtClean="0">
                <a:solidFill>
                  <a:srgbClr val="C00000"/>
                </a:solidFill>
              </a:rPr>
              <a:t>'switchyard', 'station', 'transmission', 'system', 'lines', 'line', 'frequency', 'voltage</a:t>
            </a:r>
            <a:r>
              <a:rPr lang="en-US" sz="1600" dirty="0">
                <a:solidFill>
                  <a:srgbClr val="C00000"/>
                </a:solidFill>
              </a:rPr>
              <a:t>'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are each term to </a:t>
            </a:r>
            <a:r>
              <a:rPr lang="en-US" i="1" dirty="0" smtClean="0"/>
              <a:t>every </a:t>
            </a:r>
            <a:r>
              <a:rPr lang="en-US" dirty="0" smtClean="0"/>
              <a:t>word in English Wikipedia’s 2015 bag of wo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lgorithm computes a similarity score from -1 to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ake top 20 words, but filter out any with score &lt; 0.40</a:t>
            </a:r>
          </a:p>
          <a:p>
            <a:endParaRPr lang="en-US" dirty="0"/>
          </a:p>
          <a:p>
            <a:r>
              <a:rPr lang="en-US" b="1" u="sng" dirty="0" smtClean="0"/>
              <a:t>Sample Case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940374"/>
              </p:ext>
            </p:extLst>
          </p:nvPr>
        </p:nvGraphicFramePr>
        <p:xfrm>
          <a:off x="2430778" y="5105106"/>
          <a:ext cx="7703821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4098"/>
                <a:gridCol w="4509723"/>
              </a:tblGrid>
              <a:tr h="21884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erm from Starting </a:t>
                      </a:r>
                      <a:r>
                        <a:rPr lang="en-US" sz="1400" baseline="0" dirty="0" smtClean="0"/>
                        <a:t>Bag of Word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smtClean="0"/>
                        <a:t>Top 20 Similar Words</a:t>
                      </a:r>
                      <a:endParaRPr lang="en-US" sz="1400" dirty="0"/>
                    </a:p>
                  </a:txBody>
                  <a:tcPr/>
                </a:tc>
              </a:tr>
              <a:tr h="80506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‘electricity'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'energy', 'megawatts', 'power', 'renewable', 'renewables', </a:t>
                      </a:r>
                      <a:r>
                        <a:rPr lang="en-US" sz="1400" dirty="0" smtClean="0">
                          <a:solidFill>
                            <a:srgbClr val="00B050"/>
                          </a:solidFill>
                        </a:rPr>
                        <a:t>'generators'</a:t>
                      </a:r>
                      <a:r>
                        <a:rPr lang="en-US" sz="1400" dirty="0" smtClean="0"/>
                        <a:t>, 'utilities', 'hydropower', 'kilowatts', 'hydroelectricity', 'gas', 'kilowatt', 'baseload', 'kwh', 'heating', 'fuel', </a:t>
                      </a:r>
                    </a:p>
                    <a:p>
                      <a:pPr algn="ctr"/>
                      <a:r>
                        <a:rPr lang="en-US" sz="1400" dirty="0" smtClean="0"/>
                        <a:t>'</a:t>
                      </a:r>
                      <a:r>
                        <a:rPr lang="en-US" sz="1400" dirty="0" err="1" smtClean="0"/>
                        <a:t>mwh</a:t>
                      </a:r>
                      <a:r>
                        <a:rPr lang="en-US" sz="1400" dirty="0" smtClean="0"/>
                        <a:t>', 'gigawatts', 'sewerage', 'biomass'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520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m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euko Labs">
      <a:dk1>
        <a:srgbClr val="210D43"/>
      </a:dk1>
      <a:lt1>
        <a:srgbClr val="F0F1F7"/>
      </a:lt1>
      <a:dk2>
        <a:srgbClr val="210D43"/>
      </a:dk2>
      <a:lt2>
        <a:srgbClr val="FFFFFF"/>
      </a:lt2>
      <a:accent1>
        <a:srgbClr val="3C2A70"/>
      </a:accent1>
      <a:accent2>
        <a:srgbClr val="8F68AD"/>
      </a:accent2>
      <a:accent3>
        <a:srgbClr val="96BDE4"/>
      </a:accent3>
      <a:accent4>
        <a:srgbClr val="F0F1F7"/>
      </a:accent4>
      <a:accent5>
        <a:srgbClr val="E58D11"/>
      </a:accent5>
      <a:accent6>
        <a:srgbClr val="FFFFFF"/>
      </a:accent6>
      <a:hlink>
        <a:srgbClr val="8F68AD"/>
      </a:hlink>
      <a:folHlink>
        <a:srgbClr val="2F3C6E"/>
      </a:folHlink>
    </a:clrScheme>
    <a:fontScheme name="Leuko Lab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479</TotalTime>
  <Words>1441</Words>
  <Application>Microsoft Office PowerPoint</Application>
  <PresentationFormat>Widescreen</PresentationFormat>
  <Paragraphs>315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</vt:lpstr>
      <vt:lpstr>Calibri</vt:lpstr>
      <vt:lpstr>Cambria Math</vt:lpstr>
      <vt:lpstr>Courier New</vt:lpstr>
      <vt:lpstr>Helvetica</vt:lpstr>
      <vt:lpstr>Open Sans</vt:lpstr>
      <vt:lpstr>Tahoma</vt:lpstr>
      <vt:lpstr>Wingdings</vt:lpstr>
      <vt:lpstr>Office Theme</vt:lpstr>
      <vt:lpstr>think-cell Slide</vt:lpstr>
      <vt:lpstr>PowerPoint Presentation</vt:lpstr>
      <vt:lpstr>The Problem</vt:lpstr>
      <vt:lpstr>The Problem</vt:lpstr>
      <vt:lpstr>Methodology: Data Collection</vt:lpstr>
      <vt:lpstr>Methodology: Data Collection</vt:lpstr>
      <vt:lpstr>Methodology: Data Cleaning</vt:lpstr>
      <vt:lpstr>Methodology: Exploratory Data Analysis</vt:lpstr>
      <vt:lpstr>Methodology: Exploratory Data Analysis</vt:lpstr>
      <vt:lpstr>Methodology: Exploratory Data Analysis</vt:lpstr>
      <vt:lpstr>Modeling: Preprocessing</vt:lpstr>
      <vt:lpstr>Modeling: Word2Vec</vt:lpstr>
      <vt:lpstr>Modeling: Word2Vec</vt:lpstr>
      <vt:lpstr>Modeling: Word2Vec</vt:lpstr>
      <vt:lpstr>Modeling: Word2Vec</vt:lpstr>
      <vt:lpstr>Modeling: NLP Classification Step</vt:lpstr>
      <vt:lpstr>Results: Visualization</vt:lpstr>
      <vt:lpstr>Results: Visualization</vt:lpstr>
      <vt:lpstr>Wrapping-Up</vt:lpstr>
    </vt:vector>
  </TitlesOfParts>
  <Company>Hewlett-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iwid (Boom) Devahastin Na Ayudhya;Benjamin Ming Kai Chua;Dikshant Lalchand Tahilramani;Rohit Giri;Ramon Gamble</dc:creator>
  <cp:lastModifiedBy>Adiwid Devahastin Na Ayudhya</cp:lastModifiedBy>
  <cp:revision>1237</cp:revision>
  <cp:lastPrinted>2016-07-28T11:59:02Z</cp:lastPrinted>
  <dcterms:created xsi:type="dcterms:W3CDTF">2016-06-20T01:45:41Z</dcterms:created>
  <dcterms:modified xsi:type="dcterms:W3CDTF">2019-01-19T03:10:18Z</dcterms:modified>
</cp:coreProperties>
</file>